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5"/>
  </p:sldMasterIdLst>
  <p:notesMasterIdLst>
    <p:notesMasterId r:id="rId29"/>
  </p:notesMasterIdLst>
  <p:sldIdLst>
    <p:sldId id="279" r:id="rId6"/>
    <p:sldId id="259" r:id="rId7"/>
    <p:sldId id="285" r:id="rId8"/>
    <p:sldId id="360" r:id="rId9"/>
    <p:sldId id="373" r:id="rId10"/>
    <p:sldId id="371" r:id="rId11"/>
    <p:sldId id="372" r:id="rId12"/>
    <p:sldId id="293" r:id="rId13"/>
    <p:sldId id="357" r:id="rId14"/>
    <p:sldId id="368" r:id="rId15"/>
    <p:sldId id="370" r:id="rId16"/>
    <p:sldId id="289" r:id="rId17"/>
    <p:sldId id="374" r:id="rId18"/>
    <p:sldId id="379" r:id="rId19"/>
    <p:sldId id="381" r:id="rId20"/>
    <p:sldId id="376" r:id="rId21"/>
    <p:sldId id="382" r:id="rId22"/>
    <p:sldId id="361" r:id="rId23"/>
    <p:sldId id="363" r:id="rId24"/>
    <p:sldId id="365" r:id="rId25"/>
    <p:sldId id="366" r:id="rId26"/>
    <p:sldId id="367" r:id="rId27"/>
    <p:sldId id="345" r:id="rId28"/>
  </p:sldIdLst>
  <p:sldSz cx="9144000" cy="5143500" type="screen16x9"/>
  <p:notesSz cx="6858000" cy="9144000"/>
  <p:custDataLst>
    <p:tags r:id="rId30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4241" userDrawn="1">
          <p15:clr>
            <a:srgbClr val="A4A3A4"/>
          </p15:clr>
        </p15:guide>
        <p15:guide id="4" orient="horz" pos="134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bien Oldengott" initials="FO" lastIdx="14" clrIdx="0">
    <p:extLst/>
  </p:cmAuthor>
  <p:cmAuthor id="2" name="Lobosch Pannewitz" initials="LP" lastIdx="2" clrIdx="1">
    <p:extLst>
      <p:ext uri="{19B8F6BF-5375-455C-9EA6-DF929625EA0E}">
        <p15:presenceInfo xmlns:p15="http://schemas.microsoft.com/office/powerpoint/2012/main" userId="b34cdbcd4f66f08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2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273" autoAdjust="0"/>
    <p:restoredTop sz="89017" autoAdjust="0"/>
  </p:normalViewPr>
  <p:slideViewPr>
    <p:cSldViewPr showGuides="1">
      <p:cViewPr varScale="1">
        <p:scale>
          <a:sx n="103" d="100"/>
          <a:sy n="103" d="100"/>
        </p:scale>
        <p:origin x="1027" y="82"/>
      </p:cViewPr>
      <p:guideLst>
        <p:guide pos="4241"/>
        <p:guide orient="horz" pos="13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B4301598-0B7B-4F66-A0A1-BD09900ACA96}" type="datetimeFigureOut">
              <a:rPr lang="de-DE" smtClean="0"/>
              <a:pPr/>
              <a:t>03.07.20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406D0CE-E312-42E8-89AC-EC28B51306C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0516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67849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24041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75893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01622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26908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427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54692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9142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02078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03356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8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73193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6283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45979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094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 flipH="1">
            <a:off x="4463987" y="0"/>
            <a:ext cx="4680012" cy="5143500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 bwMode="gray">
          <a:xfrm rot="10800000" flipH="1">
            <a:off x="4572000" y="-20538"/>
            <a:ext cx="4572000" cy="5143500"/>
          </a:xfrm>
          <a:prstGeom prst="rect">
            <a:avLst/>
          </a:prstGeom>
          <a:gradFill flip="none" rotWithShape="1">
            <a:gsLst>
              <a:gs pos="80000">
                <a:schemeClr val="bg1">
                  <a:alpha val="81000"/>
                </a:schemeClr>
              </a:gs>
              <a:gs pos="32667">
                <a:schemeClr val="bg1">
                  <a:alpha val="0"/>
                </a:schemeClr>
              </a:gs>
              <a:gs pos="62000">
                <a:schemeClr val="bg1">
                  <a:alpha val="12000"/>
                </a:schemeClr>
              </a:gs>
              <a:gs pos="10000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de-DE" sz="1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2000" y="2896438"/>
            <a:ext cx="4248563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de-DE" sz="2000" dirty="0">
                <a:solidFill>
                  <a:srgbClr val="FFFFFF"/>
                </a:solidFill>
                <a:latin typeface="+mn-lt"/>
                <a:cs typeface="Arial"/>
              </a:rPr>
              <a:t>Platzhalter für den Untertitel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000" y="3544438"/>
            <a:ext cx="4248563" cy="215444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2000" y="1564601"/>
            <a:ext cx="4248563" cy="1163395"/>
          </a:xfrm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br>
              <a:rPr lang="de-DE" dirty="0"/>
            </a:br>
            <a:r>
              <a:rPr lang="de-DE" dirty="0"/>
              <a:t>sehr </a:t>
            </a:r>
            <a:r>
              <a:rPr lang="de-DE" dirty="0" err="1"/>
              <a:t>sehr</a:t>
            </a:r>
            <a:r>
              <a:rPr lang="de-DE" dirty="0"/>
              <a:t> langen Präsentationstitel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B24345E-D359-466C-81D5-8D29150613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0272" y="195486"/>
            <a:ext cx="1906111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589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0" y="1023938"/>
            <a:ext cx="9143999" cy="3779837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21160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A9F2E70-295B-49BB-B1C5-93E4AF7BF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1160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A9F2E70-295B-49BB-B1C5-93E4AF7BF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4500562" y="4896000"/>
            <a:ext cx="1614487" cy="13849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4643438" y="4896000"/>
            <a:ext cx="1471612" cy="13849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9143999" cy="5143500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1519" y="1994817"/>
            <a:ext cx="3708000" cy="1672060"/>
          </a:xfrm>
          <a:custGeom>
            <a:avLst/>
            <a:gdLst>
              <a:gd name="connsiteX0" fmla="*/ 0 w 3708000"/>
              <a:gd name="connsiteY0" fmla="*/ 0 h 1672060"/>
              <a:gd name="connsiteX1" fmla="*/ 3708000 w 3708000"/>
              <a:gd name="connsiteY1" fmla="*/ 0 h 1672060"/>
              <a:gd name="connsiteX2" fmla="*/ 3708000 w 3708000"/>
              <a:gd name="connsiteY2" fmla="*/ 1509902 h 1672060"/>
              <a:gd name="connsiteX3" fmla="*/ 3708000 w 3708000"/>
              <a:gd name="connsiteY3" fmla="*/ 1512000 h 1672060"/>
              <a:gd name="connsiteX4" fmla="*/ 3708000 w 3708000"/>
              <a:gd name="connsiteY4" fmla="*/ 1672060 h 1672060"/>
              <a:gd name="connsiteX5" fmla="*/ 3510926 w 3708000"/>
              <a:gd name="connsiteY5" fmla="*/ 1512000 h 1672060"/>
              <a:gd name="connsiteX6" fmla="*/ 0 w 3708000"/>
              <a:gd name="connsiteY6" fmla="*/ 1512000 h 1672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08000" h="1672060">
                <a:moveTo>
                  <a:pt x="0" y="0"/>
                </a:moveTo>
                <a:lnTo>
                  <a:pt x="3708000" y="0"/>
                </a:lnTo>
                <a:lnTo>
                  <a:pt x="3708000" y="1509902"/>
                </a:lnTo>
                <a:lnTo>
                  <a:pt x="3708000" y="1512000"/>
                </a:lnTo>
                <a:lnTo>
                  <a:pt x="3708000" y="1672060"/>
                </a:lnTo>
                <a:lnTo>
                  <a:pt x="3510926" y="1512000"/>
                </a:lnTo>
                <a:lnTo>
                  <a:pt x="0" y="151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108000" tIns="36000" rIns="108000" bIns="180000" anchor="ctr">
            <a:noAutofit/>
          </a:bodyPr>
          <a:lstStyle>
            <a:lvl1pPr>
              <a:spcBef>
                <a:spcPts val="0"/>
              </a:spcBef>
              <a:defRPr sz="2800" b="0" cap="none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 Platzhalter </a:t>
            </a:r>
          </a:p>
        </p:txBody>
      </p:sp>
    </p:spTree>
    <p:extLst>
      <p:ext uri="{BB962C8B-B14F-4D97-AF65-F5344CB8AC3E}">
        <p14:creationId xmlns:p14="http://schemas.microsoft.com/office/powerpoint/2010/main" val="18469881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023938"/>
            <a:ext cx="8642350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250825" y="1553057"/>
            <a:ext cx="8642350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5" y="4680664"/>
            <a:ext cx="8642350" cy="12311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</p:spTree>
    <p:extLst>
      <p:ext uri="{BB962C8B-B14F-4D97-AF65-F5344CB8AC3E}">
        <p14:creationId xmlns:p14="http://schemas.microsoft.com/office/powerpoint/2010/main" val="29440477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43437" y="1023938"/>
            <a:ext cx="4249737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4643437" y="1553057"/>
            <a:ext cx="4249737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643437" y="4680664"/>
            <a:ext cx="4249737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43437" y="1319275"/>
            <a:ext cx="4249738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250825" y="1023938"/>
            <a:ext cx="4249738" cy="37798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9396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023938"/>
            <a:ext cx="4249738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250825" y="1553057"/>
            <a:ext cx="4249738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5" y="4680664"/>
            <a:ext cx="4249738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647686" y="1023938"/>
            <a:ext cx="4249738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8"/>
          </p:nvPr>
        </p:nvSpPr>
        <p:spPr>
          <a:xfrm>
            <a:off x="4647686" y="1553057"/>
            <a:ext cx="4249738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647686" y="4680664"/>
            <a:ext cx="4249738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4647686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</p:spTree>
    <p:extLst>
      <p:ext uri="{BB962C8B-B14F-4D97-AF65-F5344CB8AC3E}">
        <p14:creationId xmlns:p14="http://schemas.microsoft.com/office/powerpoint/2010/main" val="42096642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blau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4843095" y="1116436"/>
            <a:ext cx="1188000" cy="1188000"/>
          </a:xfrm>
          <a:solidFill>
            <a:schemeClr val="bg1"/>
          </a:solidFill>
        </p:spPr>
        <p:txBody>
          <a:bodyPr/>
          <a:lstStyle>
            <a:lvl1pPr algn="ctr">
              <a:spcBef>
                <a:spcPts val="0"/>
              </a:spcBef>
              <a:defRPr sz="1100"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06616" y="1102065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Vorname Nachname</a:t>
            </a:r>
          </a:p>
        </p:txBody>
      </p:sp>
      <p:sp>
        <p:nvSpPr>
          <p:cNvPr id="9" name="Textplatzhalter 2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106616" y="1366353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Titel/Funk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106616" y="1630641"/>
            <a:ext cx="2713038" cy="184666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de-DE" sz="1200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>
              <a:spcBef>
                <a:spcPts val="0"/>
              </a:spcBef>
            </a:pPr>
            <a:r>
              <a:rPr lang="de-DE" noProof="0" dirty="0"/>
              <a:t>+49 (Telefon)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06616" y="1894929"/>
            <a:ext cx="2710896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+49 (Mobil)</a:t>
            </a:r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257672" y="2499742"/>
            <a:ext cx="4178130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de-DE" sz="5400" noProof="0" dirty="0">
                <a:solidFill>
                  <a:schemeClr val="bg1"/>
                </a:solidFill>
              </a:rPr>
              <a:t>Vielen Dank </a:t>
            </a:r>
            <a:br>
              <a:rPr lang="de-DE" sz="2800" noProof="0" dirty="0">
                <a:solidFill>
                  <a:schemeClr val="bg1"/>
                </a:solidFill>
              </a:rPr>
            </a:br>
            <a:r>
              <a:rPr lang="de-DE" sz="2700" noProof="0" dirty="0">
                <a:solidFill>
                  <a:schemeClr val="bg1"/>
                </a:solidFill>
              </a:rPr>
              <a:t>für eure</a:t>
            </a:r>
            <a:r>
              <a:rPr lang="de-DE" sz="2700" spc="300" noProof="0" dirty="0">
                <a:solidFill>
                  <a:schemeClr val="bg1"/>
                </a:solidFill>
              </a:rPr>
              <a:t> </a:t>
            </a:r>
            <a:r>
              <a:rPr lang="de-DE" sz="2700" noProof="0" dirty="0">
                <a:solidFill>
                  <a:schemeClr val="bg1"/>
                </a:solidFill>
              </a:rPr>
              <a:t>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32556399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4843095" y="1116436"/>
            <a:ext cx="1188000" cy="1188000"/>
          </a:xfrm>
          <a:solidFill>
            <a:schemeClr val="bg1"/>
          </a:solidFill>
        </p:spPr>
        <p:txBody>
          <a:bodyPr/>
          <a:lstStyle>
            <a:lvl1pPr algn="ctr">
              <a:spcBef>
                <a:spcPts val="0"/>
              </a:spcBef>
              <a:defRPr sz="11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06616" y="1102065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9" name="Textplatzhalter 2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106616" y="1366353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/Funk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106616" y="1630641"/>
            <a:ext cx="2713038" cy="184666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de-DE" sz="1200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>
              <a:spcBef>
                <a:spcPts val="0"/>
              </a:spcBef>
            </a:pPr>
            <a:r>
              <a:rPr lang="de-DE" dirty="0"/>
              <a:t>+49 (Telefon)</a:t>
            </a:r>
            <a:endParaRPr lang="en-US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06616" y="1894929"/>
            <a:ext cx="2710896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+49 (Mobil)</a:t>
            </a:r>
            <a:endParaRPr lang="en-US" dirty="0"/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257672" y="2499742"/>
            <a:ext cx="4178130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de-DE" sz="5400" noProof="0" dirty="0">
                <a:solidFill>
                  <a:schemeClr val="accent1"/>
                </a:solidFill>
              </a:rPr>
              <a:t>Vielen Dank </a:t>
            </a:r>
            <a:br>
              <a:rPr lang="de-DE" sz="2800" noProof="0" dirty="0">
                <a:solidFill>
                  <a:schemeClr val="accent1"/>
                </a:solidFill>
              </a:rPr>
            </a:br>
            <a:r>
              <a:rPr lang="de-DE" sz="2700" noProof="0" dirty="0">
                <a:solidFill>
                  <a:schemeClr val="accent1"/>
                </a:solidFill>
              </a:rPr>
              <a:t>für Ihre</a:t>
            </a:r>
            <a:r>
              <a:rPr lang="de-DE" sz="2700" spc="300" noProof="0" dirty="0">
                <a:solidFill>
                  <a:schemeClr val="accent1"/>
                </a:solidFill>
              </a:rPr>
              <a:t> </a:t>
            </a:r>
            <a:r>
              <a:rPr lang="de-DE" sz="2700" noProof="0" dirty="0">
                <a:solidFill>
                  <a:schemeClr val="accent1"/>
                </a:solidFill>
              </a:rPr>
              <a:t>Aufmerksamkeit!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4BC35CD-D9ED-4B22-BDED-92D27A7BAB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7792" y="142149"/>
            <a:ext cx="1030943" cy="4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1229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932460-A423-41D8-9843-681C9B9946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4512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0" y="0"/>
            <a:ext cx="230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0"/>
              </a:spcBef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4147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0" y="0"/>
            <a:ext cx="230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63199" y="2206544"/>
            <a:ext cx="6329975" cy="906402"/>
          </a:xfrm>
        </p:spPr>
        <p:txBody>
          <a:bodyPr wrap="square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3100" b="1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</a:t>
            </a:r>
            <a:br>
              <a:rPr lang="de-DE" dirty="0"/>
            </a:br>
            <a:r>
              <a:rPr lang="de-DE" dirty="0"/>
              <a:t>Kapiteltrennfoli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0825" y="2026800"/>
            <a:ext cx="2053175" cy="1231106"/>
          </a:xfrm>
        </p:spPr>
        <p:txBody>
          <a:bodyPr wrap="square" lIns="0" rIns="108000">
            <a:spAutoFit/>
          </a:bodyPr>
          <a:lstStyle>
            <a:lvl1pPr algn="r">
              <a:spcBef>
                <a:spcPts val="0"/>
              </a:spcBef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#01</a:t>
            </a:r>
          </a:p>
        </p:txBody>
      </p:sp>
      <p:sp>
        <p:nvSpPr>
          <p:cNvPr id="11" name="Rechtwinkliges Dreieck 10"/>
          <p:cNvSpPr/>
          <p:nvPr userDrawn="1"/>
        </p:nvSpPr>
        <p:spPr bwMode="gray">
          <a:xfrm rot="5400000">
            <a:off x="2284998" y="2299403"/>
            <a:ext cx="199657" cy="162158"/>
          </a:xfrm>
          <a:prstGeom prst="rt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de-DE" sz="1013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57847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, Subheadline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  <a:lvl6pPr>
              <a:buClr>
                <a:schemeClr val="accent1"/>
              </a:buClr>
              <a:defRPr/>
            </a:lvl6pPr>
            <a:lvl7pPr>
              <a:buClr>
                <a:schemeClr val="accent1"/>
              </a:buClr>
              <a:defRPr/>
            </a:lvl7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0418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1519" y="1023938"/>
            <a:ext cx="8641655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2453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B833922-FDBB-43E9-B899-12F03E85EF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7929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B833922-FDBB-43E9-B899-12F03E85E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1520" y="1023938"/>
            <a:ext cx="4249738" cy="3779837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43438" y="1023938"/>
            <a:ext cx="4249737" cy="377983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</p:spTree>
    <p:extLst>
      <p:ext uri="{BB962C8B-B14F-4D97-AF65-F5344CB8AC3E}">
        <p14:creationId xmlns:p14="http://schemas.microsoft.com/office/powerpoint/2010/main" val="10861013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46841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46468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#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4643438" y="1023938"/>
            <a:ext cx="4500562" cy="3779837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0825" y="1023938"/>
            <a:ext cx="4249738" cy="3779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32546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7B59D77-F9BF-4A1C-B5ED-DED41BB9EC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297341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Folie" r:id="rId21" imgW="473" imgH="476" progId="TCLayout.ActiveDocument.1">
                  <p:embed/>
                </p:oleObj>
              </mc:Choice>
              <mc:Fallback>
                <p:oleObj name="think-cell Folie" r:id="rId21" imgW="473" imgH="47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7B59D77-F9BF-4A1C-B5ED-DED41BB9E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51519" y="1023938"/>
            <a:ext cx="8641655" cy="3779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14" name="Gruppieren 13"/>
          <p:cNvGrpSpPr/>
          <p:nvPr userDrawn="1"/>
        </p:nvGrpSpPr>
        <p:grpSpPr bwMode="gray">
          <a:xfrm>
            <a:off x="250825" y="-164554"/>
            <a:ext cx="8642349" cy="108000"/>
            <a:chOff x="250825" y="-130860"/>
            <a:chExt cx="8642349" cy="108000"/>
          </a:xfrm>
        </p:grpSpPr>
        <p:cxnSp>
          <p:nvCxnSpPr>
            <p:cNvPr id="8" name="Gerader Verbinder 7"/>
            <p:cNvCxnSpPr/>
            <p:nvPr userDrawn="1"/>
          </p:nvCxnSpPr>
          <p:spPr bwMode="gray">
            <a:xfrm>
              <a:off x="250825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/>
            <p:cNvCxnSpPr/>
            <p:nvPr userDrawn="1"/>
          </p:nvCxnSpPr>
          <p:spPr bwMode="gray">
            <a:xfrm>
              <a:off x="8893174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/>
          <p:cNvGrpSpPr/>
          <p:nvPr userDrawn="1"/>
        </p:nvGrpSpPr>
        <p:grpSpPr bwMode="gray">
          <a:xfrm>
            <a:off x="-155664" y="1023938"/>
            <a:ext cx="108000" cy="3779768"/>
            <a:chOff x="-144524" y="1023938"/>
            <a:chExt cx="108000" cy="3779768"/>
          </a:xfrm>
        </p:grpSpPr>
        <p:cxnSp>
          <p:nvCxnSpPr>
            <p:cNvPr id="10" name="Gerader Verbinder 9"/>
            <p:cNvCxnSpPr/>
            <p:nvPr userDrawn="1"/>
          </p:nvCxnSpPr>
          <p:spPr bwMode="gray">
            <a:xfrm>
              <a:off x="-144524" y="1023938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/>
            <p:cNvCxnSpPr/>
            <p:nvPr userDrawn="1"/>
          </p:nvCxnSpPr>
          <p:spPr bwMode="gray">
            <a:xfrm>
              <a:off x="-144524" y="4803706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/>
          <p:cNvGrpSpPr/>
          <p:nvPr userDrawn="1"/>
        </p:nvGrpSpPr>
        <p:grpSpPr bwMode="gray">
          <a:xfrm>
            <a:off x="250825" y="5200042"/>
            <a:ext cx="8642349" cy="108000"/>
            <a:chOff x="250825" y="-130860"/>
            <a:chExt cx="8642349" cy="108000"/>
          </a:xfrm>
        </p:grpSpPr>
        <p:cxnSp>
          <p:nvCxnSpPr>
            <p:cNvPr id="16" name="Gerader Verbinder 15"/>
            <p:cNvCxnSpPr/>
            <p:nvPr userDrawn="1"/>
          </p:nvCxnSpPr>
          <p:spPr bwMode="gray">
            <a:xfrm>
              <a:off x="250825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 userDrawn="1"/>
          </p:nvCxnSpPr>
          <p:spPr bwMode="gray">
            <a:xfrm>
              <a:off x="8893174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uppieren 18"/>
          <p:cNvGrpSpPr/>
          <p:nvPr userDrawn="1"/>
        </p:nvGrpSpPr>
        <p:grpSpPr bwMode="gray">
          <a:xfrm>
            <a:off x="9204336" y="1023938"/>
            <a:ext cx="108000" cy="3779768"/>
            <a:chOff x="-144524" y="1023938"/>
            <a:chExt cx="108000" cy="3779768"/>
          </a:xfrm>
        </p:grpSpPr>
        <p:cxnSp>
          <p:nvCxnSpPr>
            <p:cNvPr id="20" name="Gerader Verbinder 19"/>
            <p:cNvCxnSpPr/>
            <p:nvPr userDrawn="1"/>
          </p:nvCxnSpPr>
          <p:spPr bwMode="gray">
            <a:xfrm>
              <a:off x="-144524" y="1023938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/>
            <p:cNvCxnSpPr/>
            <p:nvPr userDrawn="1"/>
          </p:nvCxnSpPr>
          <p:spPr bwMode="gray">
            <a:xfrm>
              <a:off x="-144524" y="4803706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06986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6" r:id="rId2"/>
    <p:sldLayoutId id="2147483677" r:id="rId3"/>
    <p:sldLayoutId id="2147483662" r:id="rId4"/>
    <p:sldLayoutId id="2147483695" r:id="rId5"/>
    <p:sldLayoutId id="2147483685" r:id="rId6"/>
    <p:sldLayoutId id="2147483674" r:id="rId7"/>
    <p:sldLayoutId id="2147483675" r:id="rId8"/>
    <p:sldLayoutId id="2147483678" r:id="rId9"/>
    <p:sldLayoutId id="2147483679" r:id="rId10"/>
    <p:sldLayoutId id="2147483680" r:id="rId11"/>
    <p:sldLayoutId id="2147483687" r:id="rId12"/>
    <p:sldLayoutId id="2147483689" r:id="rId13"/>
    <p:sldLayoutId id="2147483690" r:id="rId14"/>
    <p:sldLayoutId id="2147483696" r:id="rId15"/>
    <p:sldLayoutId id="2147483692" r:id="rId16"/>
    <p:sldLayoutId id="2147483697" r:id="rId17"/>
  </p:sldLayoutIdLst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200"/>
        </a:spcBef>
        <a:buClr>
          <a:schemeClr val="bg2"/>
        </a:buClr>
        <a:buFontTx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26" userDrawn="1">
          <p15:clr>
            <a:srgbClr val="F26B43"/>
          </p15:clr>
        </p15:guide>
        <p15:guide id="2" pos="158" userDrawn="1">
          <p15:clr>
            <a:srgbClr val="F26B43"/>
          </p15:clr>
        </p15:guide>
        <p15:guide id="3" pos="5602" userDrawn="1">
          <p15:clr>
            <a:srgbClr val="F26B43"/>
          </p15:clr>
        </p15:guide>
        <p15:guide id="4" orient="horz" pos="645" userDrawn="1">
          <p15:clr>
            <a:srgbClr val="F26B43"/>
          </p15:clr>
        </p15:guide>
        <p15:guide id="5" pos="2835" userDrawn="1">
          <p15:clr>
            <a:srgbClr val="F26B43"/>
          </p15:clr>
        </p15:guide>
        <p15:guide id="6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806C3A11-BC8C-4814-A5A2-CC9943C05F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2000" y="2896438"/>
            <a:ext cx="4248563" cy="246221"/>
          </a:xfrm>
        </p:spPr>
        <p:txBody>
          <a:bodyPr/>
          <a:lstStyle/>
          <a:p>
            <a:r>
              <a:rPr lang="de-DE" sz="1600" dirty="0" err="1"/>
              <a:t>Metaheuristiken</a:t>
            </a:r>
            <a:r>
              <a:rPr lang="de-DE" sz="1600" dirty="0"/>
              <a:t> und Simul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727809B-A47C-4377-9CE8-D57467594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2000" y="3544438"/>
            <a:ext cx="4248563" cy="400110"/>
          </a:xfrm>
        </p:spPr>
        <p:txBody>
          <a:bodyPr/>
          <a:lstStyle/>
          <a:p>
            <a:r>
              <a:rPr lang="de-DE" sz="1300" dirty="0"/>
              <a:t>04.07.2018 | Tim Walz, Christoph Meise</a:t>
            </a:r>
            <a:br>
              <a:rPr lang="de-DE" sz="1300" dirty="0"/>
            </a:br>
            <a:endParaRPr lang="de-DE" sz="13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2E2530F-98ED-4479-9362-43D36A0D7F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2138770"/>
            <a:ext cx="4248563" cy="332399"/>
          </a:xfrm>
        </p:spPr>
        <p:txBody>
          <a:bodyPr/>
          <a:lstStyle/>
          <a:p>
            <a:r>
              <a:rPr lang="de-DE" sz="2400" dirty="0"/>
              <a:t>Tankstellensimulation</a:t>
            </a:r>
          </a:p>
        </p:txBody>
      </p:sp>
    </p:spTree>
    <p:extLst>
      <p:ext uri="{BB962C8B-B14F-4D97-AF65-F5344CB8AC3E}">
        <p14:creationId xmlns:p14="http://schemas.microsoft.com/office/powerpoint/2010/main" val="18910469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AB6F52A-01F4-4726-89F6-09961CF72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>
                <a:solidFill>
                  <a:schemeClr val="bg1"/>
                </a:solidFill>
              </a:rPr>
              <a:pPr/>
              <a:t>10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808316-D368-4ACA-ACB3-4821EDABF0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8764"/>
          <a:stretch/>
        </p:blipFill>
        <p:spPr>
          <a:xfrm>
            <a:off x="1403649" y="195039"/>
            <a:ext cx="2376264" cy="47529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20AE15A-4E3B-492B-A6A5-0DDA98B49F9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494" b="46970"/>
          <a:stretch/>
        </p:blipFill>
        <p:spPr>
          <a:xfrm>
            <a:off x="5289976" y="195039"/>
            <a:ext cx="1873200" cy="2520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25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4BD297-859A-42E5-B299-6F4F26AF7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1</a:t>
            </a:fld>
            <a:endParaRPr lang="de-D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B3C7661-DA22-4DBA-A956-B21885ECA3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3648" y="195039"/>
            <a:ext cx="5762625" cy="475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801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92443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en-US" sz="3200" b="0" dirty="0" err="1"/>
              <a:t>Modellvalidierung</a:t>
            </a:r>
            <a:endParaRPr lang="en-US" sz="3200" b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3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7928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chwankung im Rohölpreis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  <a:p>
            <a:endParaRPr lang="de-DE"/>
          </a:p>
          <a:p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B47FC632-80EB-3249-8D9F-49D17F0339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1519" y="1023937"/>
            <a:ext cx="4249737" cy="3779837"/>
          </a:xfrm>
        </p:spPr>
        <p:txBody>
          <a:bodyPr anchor="ctr"/>
          <a:lstStyle/>
          <a:p>
            <a:r>
              <a:rPr lang="de-DE" b="1" dirty="0"/>
              <a:t>Annahme</a:t>
            </a:r>
            <a:r>
              <a:rPr lang="de-DE" dirty="0"/>
              <a:t> 	Schwankungen um bis zu 			0,10€</a:t>
            </a:r>
          </a:p>
          <a:p>
            <a:endParaRPr lang="de-DE" dirty="0"/>
          </a:p>
          <a:p>
            <a:r>
              <a:rPr lang="de-DE" b="1" dirty="0"/>
              <a:t>Realität	</a:t>
            </a:r>
            <a:r>
              <a:rPr lang="de-DE" dirty="0"/>
              <a:t>Schwankungen um bis zu 			0,10€</a:t>
            </a:r>
            <a:endParaRPr lang="de-DE" b="1" dirty="0"/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0F3AA05C-4979-954C-9AD2-284C5E23AC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6056" y="1059582"/>
            <a:ext cx="3932783" cy="365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9707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90C416-6830-674F-B24A-A7AC9295D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ündliche Schwankung der Benzinprei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7D740AD-21E3-0F46-B1D3-608F28BE5A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4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8DDAE8-F0C0-B346-BB5E-A22E926D71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b="1" dirty="0"/>
              <a:t>Implementierung</a:t>
            </a:r>
          </a:p>
          <a:p>
            <a:endParaRPr lang="de-DE" b="1" dirty="0"/>
          </a:p>
          <a:p>
            <a:endParaRPr lang="de-DE" dirty="0"/>
          </a:p>
          <a:p>
            <a:endParaRPr lang="de-DE" b="1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5A40E9-3C11-5542-9AE2-394E2E6D63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48064" y="1023938"/>
            <a:ext cx="3745111" cy="3779837"/>
          </a:xfrm>
        </p:spPr>
        <p:txBody>
          <a:bodyPr/>
          <a:lstStyle/>
          <a:p>
            <a:r>
              <a:rPr lang="de-DE" b="1" dirty="0"/>
              <a:t>Realität</a:t>
            </a:r>
          </a:p>
          <a:p>
            <a:endParaRPr lang="de-DE" b="1" dirty="0"/>
          </a:p>
          <a:p>
            <a:r>
              <a:rPr lang="de-DE" dirty="0"/>
              <a:t>Schwankungen und tatsächliche Preise hängen ab v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Umliegenden Tankst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Ölpre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achfrag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Uhrze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887DC56-D478-624D-A5AA-F252FB49D6B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1507"/>
          <a:stretch/>
        </p:blipFill>
        <p:spPr>
          <a:xfrm>
            <a:off x="251519" y="1347614"/>
            <a:ext cx="4608513" cy="3086439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B990FFE0-B732-E34F-BA62-3C6BB1596B7C}"/>
              </a:ext>
            </a:extLst>
          </p:cNvPr>
          <p:cNvSpPr/>
          <p:nvPr/>
        </p:nvSpPr>
        <p:spPr>
          <a:xfrm>
            <a:off x="683568" y="3291830"/>
            <a:ext cx="2808312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A243132-1898-7F43-AE92-CBFF25A16F50}"/>
              </a:ext>
            </a:extLst>
          </p:cNvPr>
          <p:cNvSpPr/>
          <p:nvPr/>
        </p:nvSpPr>
        <p:spPr>
          <a:xfrm>
            <a:off x="701156" y="3579862"/>
            <a:ext cx="2808312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11" name="Grafik 10" descr="Häkchen">
            <a:extLst>
              <a:ext uri="{FF2B5EF4-FFF2-40B4-BE49-F238E27FC236}">
                <a16:creationId xmlns:a16="http://schemas.microsoft.com/office/drawing/2014/main" id="{BFD591E3-B195-3F47-A547-ECE354DC0C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00392" y="2499742"/>
            <a:ext cx="216024" cy="216024"/>
          </a:xfrm>
          <a:prstGeom prst="rect">
            <a:avLst/>
          </a:prstGeom>
        </p:spPr>
      </p:pic>
      <p:pic>
        <p:nvPicPr>
          <p:cNvPr id="13" name="Grafik 12" descr="Schließen">
            <a:extLst>
              <a:ext uri="{FF2B5EF4-FFF2-40B4-BE49-F238E27FC236}">
                <a16:creationId xmlns:a16="http://schemas.microsoft.com/office/drawing/2014/main" id="{33FFB5B4-E975-8C48-B09C-D8A3299161B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00392" y="3626893"/>
            <a:ext cx="216024" cy="216024"/>
          </a:xfrm>
          <a:prstGeom prst="rect">
            <a:avLst/>
          </a:prstGeom>
        </p:spPr>
      </p:pic>
      <p:pic>
        <p:nvPicPr>
          <p:cNvPr id="16" name="Grafik 15" descr="Häkchen">
            <a:extLst>
              <a:ext uri="{FF2B5EF4-FFF2-40B4-BE49-F238E27FC236}">
                <a16:creationId xmlns:a16="http://schemas.microsoft.com/office/drawing/2014/main" id="{390D28D9-EF0B-AF48-B83F-74CD354AEA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00392" y="2876554"/>
            <a:ext cx="224229" cy="224229"/>
          </a:xfrm>
          <a:prstGeom prst="rect">
            <a:avLst/>
          </a:prstGeom>
        </p:spPr>
      </p:pic>
      <p:pic>
        <p:nvPicPr>
          <p:cNvPr id="17" name="Grafik 16" descr="Häkchen">
            <a:extLst>
              <a:ext uri="{FF2B5EF4-FFF2-40B4-BE49-F238E27FC236}">
                <a16:creationId xmlns:a16="http://schemas.microsoft.com/office/drawing/2014/main" id="{755D7A03-7132-C346-8074-157A8E603D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00392" y="3255826"/>
            <a:ext cx="216024" cy="21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2905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90C416-6830-674F-B24A-A7AC9295D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hältnis Autofahrer / Tankstel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7D740AD-21E3-0F46-B1D3-608F28BE5A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5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8DDAE8-F0C0-B346-BB5E-A22E926D71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b="1" dirty="0"/>
              <a:t>Implementierung</a:t>
            </a:r>
          </a:p>
          <a:p>
            <a:endParaRPr lang="de-DE" b="1" dirty="0"/>
          </a:p>
          <a:p>
            <a:endParaRPr lang="de-DE" dirty="0"/>
          </a:p>
          <a:p>
            <a:endParaRPr lang="de-DE" b="1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5A40E9-3C11-5542-9AE2-394E2E6D63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48064" y="1023938"/>
            <a:ext cx="3745111" cy="3779837"/>
          </a:xfrm>
        </p:spPr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icht mit Realität vergleichb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für Entwicklung und Auswirkung von Entscheidungskriterien einfacher zu erken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6478386-5524-BA45-B652-07E659122C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19" y="2294995"/>
            <a:ext cx="3959900" cy="965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9219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04699"/>
          </a:xfrm>
        </p:spPr>
        <p:txBody>
          <a:bodyPr/>
          <a:lstStyle/>
          <a:p>
            <a:r>
              <a:rPr lang="en-GB" dirty="0" err="1"/>
              <a:t>Generierte</a:t>
            </a:r>
            <a:r>
              <a:rPr lang="en-GB" dirty="0"/>
              <a:t> </a:t>
            </a:r>
            <a:r>
              <a:rPr lang="en-GB" dirty="0" err="1"/>
              <a:t>Nachfrage</a:t>
            </a:r>
            <a:r>
              <a:rPr lang="en-GB" dirty="0"/>
              <a:t> pro </a:t>
            </a:r>
            <a:r>
              <a:rPr lang="en-GB" dirty="0" err="1"/>
              <a:t>Zeitschritt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6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/>
          <a:lstStyle/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78E602F-1D2C-6D41-9148-5B629A058A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584" y="699542"/>
            <a:ext cx="7306518" cy="4019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53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90C416-6830-674F-B24A-A7AC9295D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hältnis Autofahrer / Tankstel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7D740AD-21E3-0F46-B1D3-608F28BE5A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7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8DDAE8-F0C0-B346-BB5E-A22E926D71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b="1" dirty="0"/>
              <a:t>Implementierung</a:t>
            </a:r>
          </a:p>
          <a:p>
            <a:endParaRPr lang="de-DE" b="1" dirty="0"/>
          </a:p>
          <a:p>
            <a:endParaRPr lang="de-DE" dirty="0"/>
          </a:p>
          <a:p>
            <a:endParaRPr lang="de-DE" b="1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5A40E9-3C11-5542-9AE2-394E2E6D63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48064" y="1023938"/>
            <a:ext cx="3745111" cy="3779837"/>
          </a:xfrm>
        </p:spPr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verbrauchen 1 – 2 Einheiten pro Tick (Stund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legen pro Tick 3 Schritte zurü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icht realitätsnah, da Verbrauch zu niedri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für </a:t>
            </a:r>
            <a:r>
              <a:rPr lang="de-DE" b="1" dirty="0"/>
              <a:t>bessere Darstellung</a:t>
            </a:r>
            <a:r>
              <a:rPr lang="de-DE" dirty="0"/>
              <a:t> auf Karte während der Simu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1700FCF-A6C9-AA4E-B31B-9BCD573F56B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78"/>
          <a:stretch/>
        </p:blipFill>
        <p:spPr>
          <a:xfrm>
            <a:off x="251519" y="1707654"/>
            <a:ext cx="4302876" cy="2522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570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92443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3200" b="0" dirty="0"/>
              <a:t>Implementieru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3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11192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2400" b="0" dirty="0"/>
              <a:t>Coupon Lev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Kar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genten, die sich auf der Karte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bewe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genten, mit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fester Position </a:t>
            </a:r>
            <a:r>
              <a:rPr lang="de-DE" dirty="0"/>
              <a:t>auf der Karte</a:t>
            </a:r>
            <a:endParaRPr lang="en-GB" dirty="0"/>
          </a:p>
          <a:p>
            <a:pPr algn="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44800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6104854"/>
              </p:ext>
            </p:extLst>
          </p:nvPr>
        </p:nvGraphicFramePr>
        <p:xfrm>
          <a:off x="1715492" y="729760"/>
          <a:ext cx="7177683" cy="16111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12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864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727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  <a:latin typeface="+mn-lt"/>
                          <a:cs typeface="Arial"/>
                        </a:rPr>
                        <a:t>#01 </a:t>
                      </a:r>
                      <a:endParaRPr lang="de-DE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0" dirty="0">
                          <a:solidFill>
                            <a:schemeClr val="accent1"/>
                          </a:solidFill>
                        </a:rPr>
                        <a:t>Annahmen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727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#02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0" dirty="0">
                          <a:solidFill>
                            <a:schemeClr val="accent1"/>
                          </a:solidFill>
                        </a:rPr>
                        <a:t>Konzeptionelles Modell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44125"/>
                  </a:ext>
                </a:extLst>
              </a:tr>
              <a:tr h="207261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#03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noProof="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Modellvalidierung</a:t>
                      </a:r>
                      <a:endParaRPr lang="en-US" sz="1600" b="0" kern="1200" noProof="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880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#04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mplementierung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5" name="Group 100">
            <a:extLst>
              <a:ext uri="{FF2B5EF4-FFF2-40B4-BE49-F238E27FC236}">
                <a16:creationId xmlns:a16="http://schemas.microsoft.com/office/drawing/2014/main" id="{06A4E316-EADC-4D75-AFCF-EF4FA0C2CA0D}"/>
              </a:ext>
            </a:extLst>
          </p:cNvPr>
          <p:cNvGrpSpPr/>
          <p:nvPr/>
        </p:nvGrpSpPr>
        <p:grpSpPr>
          <a:xfrm>
            <a:off x="5004048" y="2571750"/>
            <a:ext cx="3537960" cy="2571750"/>
            <a:chOff x="761283" y="4599062"/>
            <a:chExt cx="10259860" cy="9116938"/>
          </a:xfrm>
        </p:grpSpPr>
        <p:grpSp>
          <p:nvGrpSpPr>
            <p:cNvPr id="6" name="Group 3">
              <a:extLst>
                <a:ext uri="{FF2B5EF4-FFF2-40B4-BE49-F238E27FC236}">
                  <a16:creationId xmlns:a16="http://schemas.microsoft.com/office/drawing/2014/main" id="{93C4E75B-5063-4193-B074-1C4E06D6CBA3}"/>
                </a:ext>
              </a:extLst>
            </p:cNvPr>
            <p:cNvGrpSpPr/>
            <p:nvPr/>
          </p:nvGrpSpPr>
          <p:grpSpPr>
            <a:xfrm>
              <a:off x="761283" y="4599062"/>
              <a:ext cx="10259860" cy="7374889"/>
              <a:chOff x="7062070" y="4599062"/>
              <a:chExt cx="10259860" cy="7374889"/>
            </a:xfrm>
          </p:grpSpPr>
          <p:sp>
            <p:nvSpPr>
              <p:cNvPr id="11" name="Freeform 4">
                <a:extLst>
                  <a:ext uri="{FF2B5EF4-FFF2-40B4-BE49-F238E27FC236}">
                    <a16:creationId xmlns:a16="http://schemas.microsoft.com/office/drawing/2014/main" id="{4BE1E1B5-E8C7-4744-A0E8-F779563AAD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088901" y="5132184"/>
                <a:ext cx="1268606" cy="1098968"/>
              </a:xfrm>
              <a:custGeom>
                <a:avLst/>
                <a:gdLst>
                  <a:gd name="T0" fmla="*/ 71 w 72"/>
                  <a:gd name="T1" fmla="*/ 15 h 60"/>
                  <a:gd name="T2" fmla="*/ 57 w 72"/>
                  <a:gd name="T3" fmla="*/ 17 h 60"/>
                  <a:gd name="T4" fmla="*/ 44 w 72"/>
                  <a:gd name="T5" fmla="*/ 45 h 60"/>
                  <a:gd name="T6" fmla="*/ 12 w 72"/>
                  <a:gd name="T7" fmla="*/ 45 h 60"/>
                  <a:gd name="T8" fmla="*/ 14 w 72"/>
                  <a:gd name="T9" fmla="*/ 48 h 60"/>
                  <a:gd name="T10" fmla="*/ 48 w 72"/>
                  <a:gd name="T11" fmla="*/ 50 h 60"/>
                  <a:gd name="T12" fmla="*/ 14 w 72"/>
                  <a:gd name="T13" fmla="*/ 51 h 60"/>
                  <a:gd name="T14" fmla="*/ 9 w 72"/>
                  <a:gd name="T15" fmla="*/ 44 h 60"/>
                  <a:gd name="T16" fmla="*/ 8 w 72"/>
                  <a:gd name="T17" fmla="*/ 41 h 60"/>
                  <a:gd name="T18" fmla="*/ 1 w 72"/>
                  <a:gd name="T19" fmla="*/ 22 h 60"/>
                  <a:gd name="T20" fmla="*/ 11 w 72"/>
                  <a:gd name="T21" fmla="*/ 40 h 60"/>
                  <a:gd name="T22" fmla="*/ 44 w 72"/>
                  <a:gd name="T23" fmla="*/ 42 h 60"/>
                  <a:gd name="T24" fmla="*/ 54 w 72"/>
                  <a:gd name="T25" fmla="*/ 16 h 60"/>
                  <a:gd name="T26" fmla="*/ 71 w 72"/>
                  <a:gd name="T27" fmla="*/ 12 h 60"/>
                  <a:gd name="T28" fmla="*/ 18 w 72"/>
                  <a:gd name="T29" fmla="*/ 56 h 60"/>
                  <a:gd name="T30" fmla="*/ 11 w 72"/>
                  <a:gd name="T31" fmla="*/ 56 h 60"/>
                  <a:gd name="T32" fmla="*/ 18 w 72"/>
                  <a:gd name="T33" fmla="*/ 56 h 60"/>
                  <a:gd name="T34" fmla="*/ 15 w 72"/>
                  <a:gd name="T35" fmla="*/ 54 h 60"/>
                  <a:gd name="T36" fmla="*/ 15 w 72"/>
                  <a:gd name="T37" fmla="*/ 58 h 60"/>
                  <a:gd name="T38" fmla="*/ 45 w 72"/>
                  <a:gd name="T39" fmla="*/ 56 h 60"/>
                  <a:gd name="T40" fmla="*/ 38 w 72"/>
                  <a:gd name="T41" fmla="*/ 56 h 60"/>
                  <a:gd name="T42" fmla="*/ 45 w 72"/>
                  <a:gd name="T43" fmla="*/ 56 h 60"/>
                  <a:gd name="T44" fmla="*/ 42 w 72"/>
                  <a:gd name="T45" fmla="*/ 54 h 60"/>
                  <a:gd name="T46" fmla="*/ 42 w 72"/>
                  <a:gd name="T47" fmla="*/ 58 h 60"/>
                  <a:gd name="T48" fmla="*/ 46 w 72"/>
                  <a:gd name="T49" fmla="*/ 35 h 60"/>
                  <a:gd name="T50" fmla="*/ 12 w 72"/>
                  <a:gd name="T51" fmla="*/ 34 h 60"/>
                  <a:gd name="T52" fmla="*/ 12 w 72"/>
                  <a:gd name="T53" fmla="*/ 36 h 60"/>
                  <a:gd name="T54" fmla="*/ 46 w 72"/>
                  <a:gd name="T55" fmla="*/ 35 h 60"/>
                  <a:gd name="T56" fmla="*/ 12 w 72"/>
                  <a:gd name="T57" fmla="*/ 39 h 60"/>
                  <a:gd name="T58" fmla="*/ 43 w 72"/>
                  <a:gd name="T59" fmla="*/ 40 h 60"/>
                  <a:gd name="T60" fmla="*/ 43 w 72"/>
                  <a:gd name="T61" fmla="*/ 38 h 60"/>
                  <a:gd name="T62" fmla="*/ 13 w 72"/>
                  <a:gd name="T63" fmla="*/ 28 h 60"/>
                  <a:gd name="T64" fmla="*/ 16 w 72"/>
                  <a:gd name="T65" fmla="*/ 23 h 60"/>
                  <a:gd name="T66" fmla="*/ 28 w 72"/>
                  <a:gd name="T67" fmla="*/ 14 h 60"/>
                  <a:gd name="T68" fmla="*/ 33 w 72"/>
                  <a:gd name="T69" fmla="*/ 17 h 60"/>
                  <a:gd name="T70" fmla="*/ 36 w 72"/>
                  <a:gd name="T71" fmla="*/ 22 h 60"/>
                  <a:gd name="T72" fmla="*/ 39 w 72"/>
                  <a:gd name="T73" fmla="*/ 17 h 60"/>
                  <a:gd name="T74" fmla="*/ 51 w 72"/>
                  <a:gd name="T75" fmla="*/ 7 h 60"/>
                  <a:gd name="T76" fmla="*/ 51 w 72"/>
                  <a:gd name="T77" fmla="*/ 0 h 60"/>
                  <a:gd name="T78" fmla="*/ 49 w 72"/>
                  <a:gd name="T79" fmla="*/ 5 h 60"/>
                  <a:gd name="T80" fmla="*/ 36 w 72"/>
                  <a:gd name="T81" fmla="*/ 15 h 60"/>
                  <a:gd name="T82" fmla="*/ 31 w 72"/>
                  <a:gd name="T83" fmla="*/ 12 h 60"/>
                  <a:gd name="T84" fmla="*/ 28 w 72"/>
                  <a:gd name="T85" fmla="*/ 7 h 60"/>
                  <a:gd name="T86" fmla="*/ 25 w 72"/>
                  <a:gd name="T87" fmla="*/ 11 h 60"/>
                  <a:gd name="T88" fmla="*/ 13 w 72"/>
                  <a:gd name="T89" fmla="*/ 22 h 60"/>
                  <a:gd name="T90" fmla="*/ 13 w 72"/>
                  <a:gd name="T91" fmla="*/ 28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2" h="60">
                    <a:moveTo>
                      <a:pt x="72" y="13"/>
                    </a:moveTo>
                    <a:cubicBezTo>
                      <a:pt x="72" y="14"/>
                      <a:pt x="71" y="15"/>
                      <a:pt x="71" y="15"/>
                    </a:cubicBezTo>
                    <a:cubicBezTo>
                      <a:pt x="60" y="15"/>
                      <a:pt x="60" y="15"/>
                      <a:pt x="60" y="15"/>
                    </a:cubicBezTo>
                    <a:cubicBezTo>
                      <a:pt x="59" y="15"/>
                      <a:pt x="57" y="16"/>
                      <a:pt x="57" y="17"/>
                    </a:cubicBezTo>
                    <a:cubicBezTo>
                      <a:pt x="49" y="41"/>
                      <a:pt x="49" y="41"/>
                      <a:pt x="49" y="41"/>
                    </a:cubicBezTo>
                    <a:cubicBezTo>
                      <a:pt x="49" y="43"/>
                      <a:pt x="46" y="45"/>
                      <a:pt x="44" y="45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13" y="45"/>
                      <a:pt x="13" y="45"/>
                      <a:pt x="12" y="45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7"/>
                      <a:pt x="13" y="48"/>
                      <a:pt x="14" y="48"/>
                    </a:cubicBezTo>
                    <a:cubicBezTo>
                      <a:pt x="47" y="48"/>
                      <a:pt x="47" y="48"/>
                      <a:pt x="47" y="48"/>
                    </a:cubicBezTo>
                    <a:cubicBezTo>
                      <a:pt x="48" y="48"/>
                      <a:pt x="48" y="49"/>
                      <a:pt x="48" y="50"/>
                    </a:cubicBezTo>
                    <a:cubicBezTo>
                      <a:pt x="48" y="50"/>
                      <a:pt x="48" y="51"/>
                      <a:pt x="47" y="51"/>
                    </a:cubicBezTo>
                    <a:cubicBezTo>
                      <a:pt x="14" y="51"/>
                      <a:pt x="14" y="51"/>
                      <a:pt x="14" y="51"/>
                    </a:cubicBezTo>
                    <a:cubicBezTo>
                      <a:pt x="11" y="51"/>
                      <a:pt x="9" y="49"/>
                      <a:pt x="9" y="47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2"/>
                      <a:pt x="8" y="42"/>
                      <a:pt x="8" y="41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3"/>
                      <a:pt x="0" y="22"/>
                      <a:pt x="1" y="22"/>
                    </a:cubicBezTo>
                    <a:cubicBezTo>
                      <a:pt x="2" y="21"/>
                      <a:pt x="3" y="22"/>
                      <a:pt x="3" y="22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11" y="41"/>
                      <a:pt x="13" y="42"/>
                      <a:pt x="14" y="42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5" y="42"/>
                      <a:pt x="46" y="41"/>
                      <a:pt x="47" y="40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5" y="13"/>
                      <a:pt x="57" y="12"/>
                      <a:pt x="60" y="12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71" y="12"/>
                      <a:pt x="72" y="12"/>
                      <a:pt x="72" y="13"/>
                    </a:cubicBezTo>
                    <a:close/>
                    <a:moveTo>
                      <a:pt x="18" y="56"/>
                    </a:moveTo>
                    <a:cubicBezTo>
                      <a:pt x="18" y="58"/>
                      <a:pt x="17" y="60"/>
                      <a:pt x="15" y="60"/>
                    </a:cubicBezTo>
                    <a:cubicBezTo>
                      <a:pt x="13" y="60"/>
                      <a:pt x="11" y="58"/>
                      <a:pt x="11" y="56"/>
                    </a:cubicBezTo>
                    <a:cubicBezTo>
                      <a:pt x="11" y="54"/>
                      <a:pt x="13" y="52"/>
                      <a:pt x="15" y="52"/>
                    </a:cubicBezTo>
                    <a:cubicBezTo>
                      <a:pt x="17" y="52"/>
                      <a:pt x="18" y="54"/>
                      <a:pt x="18" y="56"/>
                    </a:cubicBezTo>
                    <a:close/>
                    <a:moveTo>
                      <a:pt x="16" y="56"/>
                    </a:moveTo>
                    <a:cubicBezTo>
                      <a:pt x="16" y="55"/>
                      <a:pt x="16" y="54"/>
                      <a:pt x="15" y="54"/>
                    </a:cubicBezTo>
                    <a:cubicBezTo>
                      <a:pt x="14" y="54"/>
                      <a:pt x="13" y="55"/>
                      <a:pt x="13" y="56"/>
                    </a:cubicBezTo>
                    <a:cubicBezTo>
                      <a:pt x="13" y="57"/>
                      <a:pt x="14" y="58"/>
                      <a:pt x="15" y="58"/>
                    </a:cubicBezTo>
                    <a:cubicBezTo>
                      <a:pt x="16" y="58"/>
                      <a:pt x="16" y="57"/>
                      <a:pt x="16" y="56"/>
                    </a:cubicBezTo>
                    <a:close/>
                    <a:moveTo>
                      <a:pt x="45" y="56"/>
                    </a:moveTo>
                    <a:cubicBezTo>
                      <a:pt x="45" y="58"/>
                      <a:pt x="44" y="60"/>
                      <a:pt x="42" y="60"/>
                    </a:cubicBezTo>
                    <a:cubicBezTo>
                      <a:pt x="40" y="60"/>
                      <a:pt x="38" y="58"/>
                      <a:pt x="38" y="56"/>
                    </a:cubicBezTo>
                    <a:cubicBezTo>
                      <a:pt x="38" y="54"/>
                      <a:pt x="40" y="52"/>
                      <a:pt x="42" y="52"/>
                    </a:cubicBezTo>
                    <a:cubicBezTo>
                      <a:pt x="44" y="52"/>
                      <a:pt x="45" y="54"/>
                      <a:pt x="45" y="56"/>
                    </a:cubicBezTo>
                    <a:close/>
                    <a:moveTo>
                      <a:pt x="43" y="56"/>
                    </a:moveTo>
                    <a:cubicBezTo>
                      <a:pt x="43" y="55"/>
                      <a:pt x="43" y="54"/>
                      <a:pt x="42" y="54"/>
                    </a:cubicBezTo>
                    <a:cubicBezTo>
                      <a:pt x="41" y="54"/>
                      <a:pt x="40" y="55"/>
                      <a:pt x="40" y="56"/>
                    </a:cubicBezTo>
                    <a:cubicBezTo>
                      <a:pt x="40" y="57"/>
                      <a:pt x="41" y="58"/>
                      <a:pt x="42" y="58"/>
                    </a:cubicBezTo>
                    <a:cubicBezTo>
                      <a:pt x="43" y="58"/>
                      <a:pt x="43" y="57"/>
                      <a:pt x="43" y="56"/>
                    </a:cubicBezTo>
                    <a:close/>
                    <a:moveTo>
                      <a:pt x="46" y="35"/>
                    </a:moveTo>
                    <a:cubicBezTo>
                      <a:pt x="46" y="34"/>
                      <a:pt x="45" y="34"/>
                      <a:pt x="45" y="34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1" y="34"/>
                      <a:pt x="11" y="34"/>
                      <a:pt x="11" y="35"/>
                    </a:cubicBezTo>
                    <a:cubicBezTo>
                      <a:pt x="11" y="35"/>
                      <a:pt x="11" y="36"/>
                      <a:pt x="12" y="36"/>
                    </a:cubicBezTo>
                    <a:cubicBezTo>
                      <a:pt x="45" y="36"/>
                      <a:pt x="45" y="36"/>
                      <a:pt x="45" y="36"/>
                    </a:cubicBezTo>
                    <a:cubicBezTo>
                      <a:pt x="45" y="36"/>
                      <a:pt x="46" y="35"/>
                      <a:pt x="46" y="35"/>
                    </a:cubicBezTo>
                    <a:close/>
                    <a:moveTo>
                      <a:pt x="13" y="38"/>
                    </a:moveTo>
                    <a:cubicBezTo>
                      <a:pt x="13" y="38"/>
                      <a:pt x="12" y="39"/>
                      <a:pt x="12" y="39"/>
                    </a:cubicBezTo>
                    <a:cubicBezTo>
                      <a:pt x="12" y="40"/>
                      <a:pt x="13" y="40"/>
                      <a:pt x="13" y="40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4" y="40"/>
                      <a:pt x="44" y="40"/>
                      <a:pt x="44" y="39"/>
                    </a:cubicBezTo>
                    <a:cubicBezTo>
                      <a:pt x="44" y="39"/>
                      <a:pt x="44" y="38"/>
                      <a:pt x="43" y="38"/>
                    </a:cubicBezTo>
                    <a:lnTo>
                      <a:pt x="13" y="38"/>
                    </a:lnTo>
                    <a:close/>
                    <a:moveTo>
                      <a:pt x="13" y="28"/>
                    </a:moveTo>
                    <a:cubicBezTo>
                      <a:pt x="14" y="28"/>
                      <a:pt x="16" y="27"/>
                      <a:pt x="16" y="25"/>
                    </a:cubicBezTo>
                    <a:cubicBezTo>
                      <a:pt x="16" y="24"/>
                      <a:pt x="16" y="24"/>
                      <a:pt x="16" y="23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7" y="13"/>
                      <a:pt x="27" y="14"/>
                      <a:pt x="28" y="14"/>
                    </a:cubicBezTo>
                    <a:cubicBezTo>
                      <a:pt x="28" y="14"/>
                      <a:pt x="29" y="13"/>
                      <a:pt x="29" y="13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3" y="18"/>
                      <a:pt x="33" y="18"/>
                      <a:pt x="33" y="19"/>
                    </a:cubicBezTo>
                    <a:cubicBezTo>
                      <a:pt x="33" y="20"/>
                      <a:pt x="34" y="22"/>
                      <a:pt x="36" y="22"/>
                    </a:cubicBezTo>
                    <a:cubicBezTo>
                      <a:pt x="38" y="22"/>
                      <a:pt x="39" y="20"/>
                      <a:pt x="39" y="19"/>
                    </a:cubicBezTo>
                    <a:cubicBezTo>
                      <a:pt x="39" y="18"/>
                      <a:pt x="39" y="18"/>
                      <a:pt x="39" y="17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50" y="7"/>
                      <a:pt x="51" y="7"/>
                      <a:pt x="51" y="7"/>
                    </a:cubicBezTo>
                    <a:cubicBezTo>
                      <a:pt x="53" y="7"/>
                      <a:pt x="54" y="5"/>
                      <a:pt x="54" y="4"/>
                    </a:cubicBezTo>
                    <a:cubicBezTo>
                      <a:pt x="54" y="2"/>
                      <a:pt x="53" y="0"/>
                      <a:pt x="51" y="0"/>
                    </a:cubicBezTo>
                    <a:cubicBezTo>
                      <a:pt x="50" y="0"/>
                      <a:pt x="48" y="2"/>
                      <a:pt x="48" y="4"/>
                    </a:cubicBezTo>
                    <a:cubicBezTo>
                      <a:pt x="48" y="4"/>
                      <a:pt x="48" y="5"/>
                      <a:pt x="49" y="5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7" y="16"/>
                      <a:pt x="37" y="15"/>
                      <a:pt x="36" y="15"/>
                    </a:cubicBezTo>
                    <a:cubicBezTo>
                      <a:pt x="36" y="15"/>
                      <a:pt x="35" y="16"/>
                      <a:pt x="35" y="16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1"/>
                      <a:pt x="31" y="11"/>
                      <a:pt x="31" y="10"/>
                    </a:cubicBezTo>
                    <a:cubicBezTo>
                      <a:pt x="31" y="9"/>
                      <a:pt x="30" y="7"/>
                      <a:pt x="28" y="7"/>
                    </a:cubicBezTo>
                    <a:cubicBezTo>
                      <a:pt x="26" y="7"/>
                      <a:pt x="25" y="9"/>
                      <a:pt x="25" y="10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3" y="22"/>
                      <a:pt x="13" y="22"/>
                    </a:cubicBezTo>
                    <a:cubicBezTo>
                      <a:pt x="11" y="22"/>
                      <a:pt x="10" y="23"/>
                      <a:pt x="10" y="25"/>
                    </a:cubicBezTo>
                    <a:cubicBezTo>
                      <a:pt x="10" y="27"/>
                      <a:pt x="11" y="28"/>
                      <a:pt x="13" y="28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2" name="Freeform 20">
                <a:extLst>
                  <a:ext uri="{FF2B5EF4-FFF2-40B4-BE49-F238E27FC236}">
                    <a16:creationId xmlns:a16="http://schemas.microsoft.com/office/drawing/2014/main" id="{FA26E99A-7D90-45FF-8F64-7087E8ED7C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09879" y="5785839"/>
                <a:ext cx="883479" cy="819613"/>
              </a:xfrm>
              <a:custGeom>
                <a:avLst/>
                <a:gdLst>
                  <a:gd name="T0" fmla="*/ 55 w 70"/>
                  <a:gd name="T1" fmla="*/ 45 h 65"/>
                  <a:gd name="T2" fmla="*/ 55 w 70"/>
                  <a:gd name="T3" fmla="*/ 35 h 65"/>
                  <a:gd name="T4" fmla="*/ 29 w 70"/>
                  <a:gd name="T5" fmla="*/ 25 h 65"/>
                  <a:gd name="T6" fmla="*/ 40 w 70"/>
                  <a:gd name="T7" fmla="*/ 50 h 65"/>
                  <a:gd name="T8" fmla="*/ 49 w 70"/>
                  <a:gd name="T9" fmla="*/ 51 h 65"/>
                  <a:gd name="T10" fmla="*/ 64 w 70"/>
                  <a:gd name="T11" fmla="*/ 65 h 65"/>
                  <a:gd name="T12" fmla="*/ 48 w 70"/>
                  <a:gd name="T13" fmla="*/ 44 h 65"/>
                  <a:gd name="T14" fmla="*/ 28 w 70"/>
                  <a:gd name="T15" fmla="*/ 35 h 65"/>
                  <a:gd name="T16" fmla="*/ 48 w 70"/>
                  <a:gd name="T17" fmla="*/ 27 h 65"/>
                  <a:gd name="T18" fmla="*/ 50 w 70"/>
                  <a:gd name="T19" fmla="*/ 47 h 65"/>
                  <a:gd name="T20" fmla="*/ 51 w 70"/>
                  <a:gd name="T21" fmla="*/ 45 h 65"/>
                  <a:gd name="T22" fmla="*/ 66 w 70"/>
                  <a:gd name="T23" fmla="*/ 61 h 65"/>
                  <a:gd name="T24" fmla="*/ 52 w 70"/>
                  <a:gd name="T25" fmla="*/ 50 h 65"/>
                  <a:gd name="T26" fmla="*/ 53 w 70"/>
                  <a:gd name="T27" fmla="*/ 49 h 65"/>
                  <a:gd name="T28" fmla="*/ 55 w 70"/>
                  <a:gd name="T29" fmla="*/ 48 h 65"/>
                  <a:gd name="T30" fmla="*/ 66 w 70"/>
                  <a:gd name="T31" fmla="*/ 61 h 65"/>
                  <a:gd name="T32" fmla="*/ 34 w 70"/>
                  <a:gd name="T33" fmla="*/ 42 h 65"/>
                  <a:gd name="T34" fmla="*/ 32 w 70"/>
                  <a:gd name="T35" fmla="*/ 43 h 65"/>
                  <a:gd name="T36" fmla="*/ 34 w 70"/>
                  <a:gd name="T37" fmla="*/ 28 h 65"/>
                  <a:gd name="T38" fmla="*/ 39 w 70"/>
                  <a:gd name="T39" fmla="*/ 60 h 65"/>
                  <a:gd name="T40" fmla="*/ 33 w 70"/>
                  <a:gd name="T41" fmla="*/ 60 h 65"/>
                  <a:gd name="T42" fmla="*/ 31 w 70"/>
                  <a:gd name="T43" fmla="*/ 60 h 65"/>
                  <a:gd name="T44" fmla="*/ 28 w 70"/>
                  <a:gd name="T45" fmla="*/ 47 h 65"/>
                  <a:gd name="T46" fmla="*/ 18 w 70"/>
                  <a:gd name="T47" fmla="*/ 33 h 65"/>
                  <a:gd name="T48" fmla="*/ 18 w 70"/>
                  <a:gd name="T49" fmla="*/ 31 h 65"/>
                  <a:gd name="T50" fmla="*/ 31 w 70"/>
                  <a:gd name="T51" fmla="*/ 21 h 65"/>
                  <a:gd name="T52" fmla="*/ 45 w 70"/>
                  <a:gd name="T53" fmla="*/ 19 h 65"/>
                  <a:gd name="T54" fmla="*/ 47 w 70"/>
                  <a:gd name="T55" fmla="*/ 19 h 65"/>
                  <a:gd name="T56" fmla="*/ 56 w 70"/>
                  <a:gd name="T57" fmla="*/ 33 h 65"/>
                  <a:gd name="T58" fmla="*/ 55 w 70"/>
                  <a:gd name="T59" fmla="*/ 43 h 65"/>
                  <a:gd name="T60" fmla="*/ 60 w 70"/>
                  <a:gd name="T61" fmla="*/ 45 h 65"/>
                  <a:gd name="T62" fmla="*/ 32 w 70"/>
                  <a:gd name="T63" fmla="*/ 0 h 65"/>
                  <a:gd name="T64" fmla="*/ 51 w 70"/>
                  <a:gd name="T65" fmla="*/ 57 h 65"/>
                  <a:gd name="T66" fmla="*/ 60 w 70"/>
                  <a:gd name="T67" fmla="*/ 24 h 65"/>
                  <a:gd name="T68" fmla="*/ 60 w 70"/>
                  <a:gd name="T69" fmla="*/ 24 h 65"/>
                  <a:gd name="T70" fmla="*/ 33 w 70"/>
                  <a:gd name="T71" fmla="*/ 15 h 65"/>
                  <a:gd name="T72" fmla="*/ 31 w 70"/>
                  <a:gd name="T73" fmla="*/ 15 h 65"/>
                  <a:gd name="T74" fmla="*/ 25 w 70"/>
                  <a:gd name="T75" fmla="*/ 4 h 65"/>
                  <a:gd name="T76" fmla="*/ 25 w 70"/>
                  <a:gd name="T77" fmla="*/ 4 h 65"/>
                  <a:gd name="T78" fmla="*/ 3 w 70"/>
                  <a:gd name="T79" fmla="*/ 31 h 65"/>
                  <a:gd name="T80" fmla="*/ 17 w 70"/>
                  <a:gd name="T81" fmla="*/ 44 h 65"/>
                  <a:gd name="T82" fmla="*/ 4 w 70"/>
                  <a:gd name="T83" fmla="*/ 39 h 65"/>
                  <a:gd name="T84" fmla="*/ 4 w 70"/>
                  <a:gd name="T85" fmla="*/ 3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0" h="65">
                    <a:moveTo>
                      <a:pt x="68" y="55"/>
                    </a:moveTo>
                    <a:cubicBezTo>
                      <a:pt x="59" y="47"/>
                      <a:pt x="59" y="47"/>
                      <a:pt x="59" y="47"/>
                    </a:cubicBezTo>
                    <a:cubicBezTo>
                      <a:pt x="58" y="46"/>
                      <a:pt x="56" y="45"/>
                      <a:pt x="55" y="45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2" y="44"/>
                      <a:pt x="52" y="44"/>
                      <a:pt x="52" y="44"/>
                    </a:cubicBezTo>
                    <a:cubicBezTo>
                      <a:pt x="54" y="41"/>
                      <a:pt x="55" y="38"/>
                      <a:pt x="55" y="35"/>
                    </a:cubicBezTo>
                    <a:cubicBezTo>
                      <a:pt x="55" y="31"/>
                      <a:pt x="53" y="28"/>
                      <a:pt x="50" y="25"/>
                    </a:cubicBezTo>
                    <a:cubicBezTo>
                      <a:pt x="47" y="22"/>
                      <a:pt x="44" y="21"/>
                      <a:pt x="40" y="21"/>
                    </a:cubicBezTo>
                    <a:cubicBezTo>
                      <a:pt x="36" y="21"/>
                      <a:pt x="32" y="22"/>
                      <a:pt x="29" y="25"/>
                    </a:cubicBezTo>
                    <a:cubicBezTo>
                      <a:pt x="26" y="28"/>
                      <a:pt x="25" y="31"/>
                      <a:pt x="25" y="35"/>
                    </a:cubicBezTo>
                    <a:cubicBezTo>
                      <a:pt x="25" y="39"/>
                      <a:pt x="26" y="43"/>
                      <a:pt x="29" y="46"/>
                    </a:cubicBezTo>
                    <a:cubicBezTo>
                      <a:pt x="32" y="49"/>
                      <a:pt x="36" y="50"/>
                      <a:pt x="40" y="50"/>
                    </a:cubicBezTo>
                    <a:cubicBezTo>
                      <a:pt x="43" y="50"/>
                      <a:pt x="46" y="50"/>
                      <a:pt x="48" y="48"/>
                    </a:cubicBezTo>
                    <a:cubicBezTo>
                      <a:pt x="49" y="49"/>
                      <a:pt x="49" y="49"/>
                      <a:pt x="49" y="49"/>
                    </a:cubicBezTo>
                    <a:cubicBezTo>
                      <a:pt x="49" y="50"/>
                      <a:pt x="49" y="50"/>
                      <a:pt x="49" y="51"/>
                    </a:cubicBezTo>
                    <a:cubicBezTo>
                      <a:pt x="49" y="52"/>
                      <a:pt x="50" y="53"/>
                      <a:pt x="51" y="55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61" y="64"/>
                      <a:pt x="62" y="65"/>
                      <a:pt x="64" y="65"/>
                    </a:cubicBezTo>
                    <a:cubicBezTo>
                      <a:pt x="65" y="65"/>
                      <a:pt x="67" y="64"/>
                      <a:pt x="68" y="63"/>
                    </a:cubicBezTo>
                    <a:cubicBezTo>
                      <a:pt x="70" y="61"/>
                      <a:pt x="70" y="58"/>
                      <a:pt x="68" y="55"/>
                    </a:cubicBezTo>
                    <a:close/>
                    <a:moveTo>
                      <a:pt x="48" y="44"/>
                    </a:moveTo>
                    <a:cubicBezTo>
                      <a:pt x="46" y="46"/>
                      <a:pt x="43" y="47"/>
                      <a:pt x="40" y="47"/>
                    </a:cubicBezTo>
                    <a:cubicBezTo>
                      <a:pt x="37" y="47"/>
                      <a:pt x="34" y="46"/>
                      <a:pt x="31" y="44"/>
                    </a:cubicBezTo>
                    <a:cubicBezTo>
                      <a:pt x="29" y="42"/>
                      <a:pt x="28" y="39"/>
                      <a:pt x="28" y="35"/>
                    </a:cubicBezTo>
                    <a:cubicBezTo>
                      <a:pt x="28" y="32"/>
                      <a:pt x="29" y="29"/>
                      <a:pt x="31" y="27"/>
                    </a:cubicBezTo>
                    <a:cubicBezTo>
                      <a:pt x="34" y="25"/>
                      <a:pt x="37" y="24"/>
                      <a:pt x="40" y="24"/>
                    </a:cubicBezTo>
                    <a:cubicBezTo>
                      <a:pt x="43" y="24"/>
                      <a:pt x="46" y="25"/>
                      <a:pt x="48" y="27"/>
                    </a:cubicBezTo>
                    <a:cubicBezTo>
                      <a:pt x="53" y="32"/>
                      <a:pt x="53" y="39"/>
                      <a:pt x="48" y="44"/>
                    </a:cubicBezTo>
                    <a:close/>
                    <a:moveTo>
                      <a:pt x="51" y="47"/>
                    </a:moveTo>
                    <a:cubicBezTo>
                      <a:pt x="51" y="47"/>
                      <a:pt x="50" y="47"/>
                      <a:pt x="50" y="47"/>
                    </a:cubicBezTo>
                    <a:cubicBezTo>
                      <a:pt x="49" y="47"/>
                      <a:pt x="49" y="47"/>
                      <a:pt x="49" y="47"/>
                    </a:cubicBezTo>
                    <a:cubicBezTo>
                      <a:pt x="50" y="46"/>
                      <a:pt x="50" y="46"/>
                      <a:pt x="50" y="46"/>
                    </a:cubicBezTo>
                    <a:cubicBezTo>
                      <a:pt x="51" y="46"/>
                      <a:pt x="51" y="45"/>
                      <a:pt x="51" y="45"/>
                    </a:cubicBezTo>
                    <a:cubicBezTo>
                      <a:pt x="52" y="46"/>
                      <a:pt x="52" y="46"/>
                      <a:pt x="52" y="46"/>
                    </a:cubicBezTo>
                    <a:cubicBezTo>
                      <a:pt x="51" y="46"/>
                      <a:pt x="51" y="46"/>
                      <a:pt x="51" y="47"/>
                    </a:cubicBezTo>
                    <a:close/>
                    <a:moveTo>
                      <a:pt x="66" y="61"/>
                    </a:moveTo>
                    <a:cubicBezTo>
                      <a:pt x="65" y="62"/>
                      <a:pt x="63" y="62"/>
                      <a:pt x="62" y="61"/>
                    </a:cubicBezTo>
                    <a:cubicBezTo>
                      <a:pt x="53" y="52"/>
                      <a:pt x="53" y="52"/>
                      <a:pt x="53" y="52"/>
                    </a:cubicBezTo>
                    <a:cubicBezTo>
                      <a:pt x="53" y="52"/>
                      <a:pt x="52" y="51"/>
                      <a:pt x="52" y="50"/>
                    </a:cubicBezTo>
                    <a:cubicBezTo>
                      <a:pt x="52" y="50"/>
                      <a:pt x="52" y="50"/>
                      <a:pt x="52" y="50"/>
                    </a:cubicBezTo>
                    <a:cubicBezTo>
                      <a:pt x="52" y="50"/>
                      <a:pt x="52" y="49"/>
                      <a:pt x="52" y="49"/>
                    </a:cubicBezTo>
                    <a:cubicBezTo>
                      <a:pt x="53" y="49"/>
                      <a:pt x="53" y="49"/>
                      <a:pt x="53" y="49"/>
                    </a:cubicBezTo>
                    <a:cubicBezTo>
                      <a:pt x="53" y="48"/>
                      <a:pt x="53" y="48"/>
                      <a:pt x="54" y="48"/>
                    </a:cubicBezTo>
                    <a:cubicBezTo>
                      <a:pt x="54" y="48"/>
                      <a:pt x="54" y="48"/>
                      <a:pt x="54" y="48"/>
                    </a:cubicBezTo>
                    <a:cubicBezTo>
                      <a:pt x="54" y="48"/>
                      <a:pt x="54" y="48"/>
                      <a:pt x="55" y="48"/>
                    </a:cubicBezTo>
                    <a:cubicBezTo>
                      <a:pt x="55" y="48"/>
                      <a:pt x="56" y="48"/>
                      <a:pt x="57" y="49"/>
                    </a:cubicBezTo>
                    <a:cubicBezTo>
                      <a:pt x="65" y="58"/>
                      <a:pt x="65" y="58"/>
                      <a:pt x="65" y="58"/>
                    </a:cubicBezTo>
                    <a:cubicBezTo>
                      <a:pt x="66" y="59"/>
                      <a:pt x="67" y="60"/>
                      <a:pt x="66" y="61"/>
                    </a:cubicBezTo>
                    <a:close/>
                    <a:moveTo>
                      <a:pt x="34" y="29"/>
                    </a:moveTo>
                    <a:cubicBezTo>
                      <a:pt x="32" y="31"/>
                      <a:pt x="31" y="33"/>
                      <a:pt x="31" y="35"/>
                    </a:cubicBezTo>
                    <a:cubicBezTo>
                      <a:pt x="31" y="38"/>
                      <a:pt x="32" y="40"/>
                      <a:pt x="34" y="42"/>
                    </a:cubicBezTo>
                    <a:cubicBezTo>
                      <a:pt x="34" y="42"/>
                      <a:pt x="34" y="43"/>
                      <a:pt x="34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3" y="43"/>
                      <a:pt x="32" y="43"/>
                      <a:pt x="32" y="43"/>
                    </a:cubicBezTo>
                    <a:cubicBezTo>
                      <a:pt x="30" y="41"/>
                      <a:pt x="29" y="38"/>
                      <a:pt x="29" y="35"/>
                    </a:cubicBezTo>
                    <a:cubicBezTo>
                      <a:pt x="29" y="33"/>
                      <a:pt x="30" y="30"/>
                      <a:pt x="32" y="28"/>
                    </a:cubicBezTo>
                    <a:cubicBezTo>
                      <a:pt x="33" y="28"/>
                      <a:pt x="33" y="28"/>
                      <a:pt x="34" y="28"/>
                    </a:cubicBezTo>
                    <a:cubicBezTo>
                      <a:pt x="34" y="28"/>
                      <a:pt x="34" y="29"/>
                      <a:pt x="34" y="29"/>
                    </a:cubicBezTo>
                    <a:close/>
                    <a:moveTo>
                      <a:pt x="49" y="55"/>
                    </a:moveTo>
                    <a:cubicBezTo>
                      <a:pt x="46" y="57"/>
                      <a:pt x="43" y="59"/>
                      <a:pt x="39" y="60"/>
                    </a:cubicBezTo>
                    <a:cubicBezTo>
                      <a:pt x="41" y="58"/>
                      <a:pt x="43" y="55"/>
                      <a:pt x="45" y="52"/>
                    </a:cubicBezTo>
                    <a:cubicBezTo>
                      <a:pt x="44" y="52"/>
                      <a:pt x="43" y="52"/>
                      <a:pt x="42" y="52"/>
                    </a:cubicBezTo>
                    <a:cubicBezTo>
                      <a:pt x="40" y="57"/>
                      <a:pt x="37" y="60"/>
                      <a:pt x="33" y="60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2" y="51"/>
                      <a:pt x="32" y="50"/>
                      <a:pt x="31" y="50"/>
                    </a:cubicBezTo>
                    <a:cubicBezTo>
                      <a:pt x="31" y="60"/>
                      <a:pt x="31" y="60"/>
                      <a:pt x="31" y="60"/>
                    </a:cubicBezTo>
                    <a:cubicBezTo>
                      <a:pt x="26" y="60"/>
                      <a:pt x="22" y="54"/>
                      <a:pt x="20" y="47"/>
                    </a:cubicBezTo>
                    <a:cubicBezTo>
                      <a:pt x="22" y="47"/>
                      <a:pt x="25" y="48"/>
                      <a:pt x="28" y="48"/>
                    </a:cubicBezTo>
                    <a:cubicBezTo>
                      <a:pt x="28" y="48"/>
                      <a:pt x="28" y="48"/>
                      <a:pt x="28" y="47"/>
                    </a:cubicBezTo>
                    <a:cubicBezTo>
                      <a:pt x="27" y="47"/>
                      <a:pt x="27" y="46"/>
                      <a:pt x="26" y="46"/>
                    </a:cubicBezTo>
                    <a:cubicBezTo>
                      <a:pt x="24" y="45"/>
                      <a:pt x="21" y="45"/>
                      <a:pt x="19" y="44"/>
                    </a:cubicBezTo>
                    <a:cubicBezTo>
                      <a:pt x="18" y="41"/>
                      <a:pt x="18" y="37"/>
                      <a:pt x="18" y="33"/>
                    </a:cubicBezTo>
                    <a:cubicBezTo>
                      <a:pt x="23" y="33"/>
                      <a:pt x="23" y="33"/>
                      <a:pt x="23" y="33"/>
                    </a:cubicBezTo>
                    <a:cubicBezTo>
                      <a:pt x="23" y="32"/>
                      <a:pt x="23" y="31"/>
                      <a:pt x="24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26"/>
                      <a:pt x="18" y="22"/>
                      <a:pt x="19" y="19"/>
                    </a:cubicBezTo>
                    <a:cubicBezTo>
                      <a:pt x="23" y="18"/>
                      <a:pt x="27" y="17"/>
                      <a:pt x="31" y="17"/>
                    </a:cubicBezTo>
                    <a:cubicBezTo>
                      <a:pt x="31" y="21"/>
                      <a:pt x="31" y="21"/>
                      <a:pt x="31" y="21"/>
                    </a:cubicBezTo>
                    <a:cubicBezTo>
                      <a:pt x="32" y="21"/>
                      <a:pt x="32" y="20"/>
                      <a:pt x="33" y="20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7" y="17"/>
                      <a:pt x="41" y="18"/>
                      <a:pt x="45" y="19"/>
                    </a:cubicBezTo>
                    <a:cubicBezTo>
                      <a:pt x="45" y="19"/>
                      <a:pt x="45" y="19"/>
                      <a:pt x="45" y="20"/>
                    </a:cubicBezTo>
                    <a:cubicBezTo>
                      <a:pt x="46" y="20"/>
                      <a:pt x="47" y="20"/>
                      <a:pt x="48" y="21"/>
                    </a:cubicBezTo>
                    <a:cubicBezTo>
                      <a:pt x="47" y="20"/>
                      <a:pt x="47" y="20"/>
                      <a:pt x="47" y="19"/>
                    </a:cubicBezTo>
                    <a:cubicBezTo>
                      <a:pt x="55" y="22"/>
                      <a:pt x="60" y="26"/>
                      <a:pt x="61" y="31"/>
                    </a:cubicBezTo>
                    <a:cubicBezTo>
                      <a:pt x="56" y="31"/>
                      <a:pt x="56" y="31"/>
                      <a:pt x="56" y="31"/>
                    </a:cubicBezTo>
                    <a:cubicBezTo>
                      <a:pt x="56" y="31"/>
                      <a:pt x="56" y="32"/>
                      <a:pt x="56" y="33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5"/>
                      <a:pt x="59" y="38"/>
                      <a:pt x="56" y="40"/>
                    </a:cubicBezTo>
                    <a:cubicBezTo>
                      <a:pt x="56" y="41"/>
                      <a:pt x="55" y="42"/>
                      <a:pt x="55" y="43"/>
                    </a:cubicBezTo>
                    <a:cubicBezTo>
                      <a:pt x="57" y="41"/>
                      <a:pt x="59" y="40"/>
                      <a:pt x="60" y="39"/>
                    </a:cubicBezTo>
                    <a:cubicBezTo>
                      <a:pt x="60" y="40"/>
                      <a:pt x="59" y="42"/>
                      <a:pt x="58" y="44"/>
                    </a:cubicBezTo>
                    <a:cubicBezTo>
                      <a:pt x="59" y="44"/>
                      <a:pt x="60" y="45"/>
                      <a:pt x="60" y="45"/>
                    </a:cubicBezTo>
                    <a:cubicBezTo>
                      <a:pt x="61" y="46"/>
                      <a:pt x="61" y="46"/>
                      <a:pt x="61" y="46"/>
                    </a:cubicBezTo>
                    <a:cubicBezTo>
                      <a:pt x="63" y="41"/>
                      <a:pt x="64" y="37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  <a:cubicBezTo>
                      <a:pt x="15" y="0"/>
                      <a:pt x="0" y="14"/>
                      <a:pt x="0" y="32"/>
                    </a:cubicBezTo>
                    <a:cubicBezTo>
                      <a:pt x="0" y="49"/>
                      <a:pt x="15" y="63"/>
                      <a:pt x="32" y="63"/>
                    </a:cubicBezTo>
                    <a:cubicBezTo>
                      <a:pt x="39" y="63"/>
                      <a:pt x="46" y="61"/>
                      <a:pt x="51" y="57"/>
                    </a:cubicBezTo>
                    <a:cubicBezTo>
                      <a:pt x="50" y="56"/>
                      <a:pt x="50" y="56"/>
                      <a:pt x="50" y="56"/>
                    </a:cubicBezTo>
                    <a:cubicBezTo>
                      <a:pt x="49" y="56"/>
                      <a:pt x="49" y="55"/>
                      <a:pt x="49" y="55"/>
                    </a:cubicBezTo>
                    <a:close/>
                    <a:moveTo>
                      <a:pt x="60" y="24"/>
                    </a:moveTo>
                    <a:cubicBezTo>
                      <a:pt x="57" y="21"/>
                      <a:pt x="53" y="19"/>
                      <a:pt x="47" y="17"/>
                    </a:cubicBezTo>
                    <a:cubicBezTo>
                      <a:pt x="45" y="11"/>
                      <a:pt x="42" y="6"/>
                      <a:pt x="39" y="4"/>
                    </a:cubicBezTo>
                    <a:cubicBezTo>
                      <a:pt x="50" y="6"/>
                      <a:pt x="58" y="14"/>
                      <a:pt x="60" y="24"/>
                    </a:cubicBezTo>
                    <a:close/>
                    <a:moveTo>
                      <a:pt x="33" y="3"/>
                    </a:moveTo>
                    <a:cubicBezTo>
                      <a:pt x="38" y="3"/>
                      <a:pt x="42" y="9"/>
                      <a:pt x="44" y="16"/>
                    </a:cubicBezTo>
                    <a:cubicBezTo>
                      <a:pt x="41" y="16"/>
                      <a:pt x="37" y="15"/>
                      <a:pt x="33" y="15"/>
                    </a:cubicBezTo>
                    <a:lnTo>
                      <a:pt x="33" y="3"/>
                    </a:lnTo>
                    <a:close/>
                    <a:moveTo>
                      <a:pt x="31" y="3"/>
                    </a:moveTo>
                    <a:cubicBezTo>
                      <a:pt x="31" y="15"/>
                      <a:pt x="31" y="15"/>
                      <a:pt x="31" y="15"/>
                    </a:cubicBezTo>
                    <a:cubicBezTo>
                      <a:pt x="27" y="15"/>
                      <a:pt x="23" y="16"/>
                      <a:pt x="20" y="16"/>
                    </a:cubicBezTo>
                    <a:cubicBezTo>
                      <a:pt x="22" y="9"/>
                      <a:pt x="26" y="3"/>
                      <a:pt x="31" y="3"/>
                    </a:cubicBezTo>
                    <a:close/>
                    <a:moveTo>
                      <a:pt x="25" y="4"/>
                    </a:moveTo>
                    <a:cubicBezTo>
                      <a:pt x="22" y="6"/>
                      <a:pt x="19" y="11"/>
                      <a:pt x="18" y="17"/>
                    </a:cubicBezTo>
                    <a:cubicBezTo>
                      <a:pt x="12" y="19"/>
                      <a:pt x="7" y="21"/>
                      <a:pt x="4" y="24"/>
                    </a:cubicBezTo>
                    <a:cubicBezTo>
                      <a:pt x="7" y="14"/>
                      <a:pt x="15" y="6"/>
                      <a:pt x="25" y="4"/>
                    </a:cubicBezTo>
                    <a:close/>
                    <a:moveTo>
                      <a:pt x="17" y="19"/>
                    </a:moveTo>
                    <a:cubicBezTo>
                      <a:pt x="16" y="23"/>
                      <a:pt x="16" y="27"/>
                      <a:pt x="16" y="31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4" y="26"/>
                      <a:pt x="9" y="22"/>
                      <a:pt x="17" y="19"/>
                    </a:cubicBezTo>
                    <a:close/>
                    <a:moveTo>
                      <a:pt x="16" y="33"/>
                    </a:moveTo>
                    <a:cubicBezTo>
                      <a:pt x="16" y="37"/>
                      <a:pt x="16" y="40"/>
                      <a:pt x="17" y="44"/>
                    </a:cubicBezTo>
                    <a:cubicBezTo>
                      <a:pt x="9" y="41"/>
                      <a:pt x="4" y="37"/>
                      <a:pt x="3" y="33"/>
                    </a:cubicBezTo>
                    <a:lnTo>
                      <a:pt x="16" y="33"/>
                    </a:lnTo>
                    <a:close/>
                    <a:moveTo>
                      <a:pt x="4" y="39"/>
                    </a:moveTo>
                    <a:cubicBezTo>
                      <a:pt x="7" y="42"/>
                      <a:pt x="12" y="44"/>
                      <a:pt x="18" y="46"/>
                    </a:cubicBezTo>
                    <a:cubicBezTo>
                      <a:pt x="19" y="52"/>
                      <a:pt x="22" y="57"/>
                      <a:pt x="25" y="60"/>
                    </a:cubicBezTo>
                    <a:cubicBezTo>
                      <a:pt x="15" y="57"/>
                      <a:pt x="7" y="49"/>
                      <a:pt x="4" y="39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3" name="Freeform 24">
                <a:extLst>
                  <a:ext uri="{FF2B5EF4-FFF2-40B4-BE49-F238E27FC236}">
                    <a16:creationId xmlns:a16="http://schemas.microsoft.com/office/drawing/2014/main" id="{ECC26C0E-DC7D-449D-A036-5C7B5D8A39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87252" y="6608262"/>
                <a:ext cx="1189426" cy="1254600"/>
              </a:xfrm>
              <a:custGeom>
                <a:avLst/>
                <a:gdLst>
                  <a:gd name="T0" fmla="*/ 22 w 62"/>
                  <a:gd name="T1" fmla="*/ 32 h 65"/>
                  <a:gd name="T2" fmla="*/ 22 w 62"/>
                  <a:gd name="T3" fmla="*/ 52 h 65"/>
                  <a:gd name="T4" fmla="*/ 26 w 62"/>
                  <a:gd name="T5" fmla="*/ 43 h 65"/>
                  <a:gd name="T6" fmla="*/ 47 w 62"/>
                  <a:gd name="T7" fmla="*/ 7 h 65"/>
                  <a:gd name="T8" fmla="*/ 47 w 62"/>
                  <a:gd name="T9" fmla="*/ 19 h 65"/>
                  <a:gd name="T10" fmla="*/ 40 w 62"/>
                  <a:gd name="T11" fmla="*/ 37 h 65"/>
                  <a:gd name="T12" fmla="*/ 36 w 62"/>
                  <a:gd name="T13" fmla="*/ 27 h 65"/>
                  <a:gd name="T14" fmla="*/ 32 w 62"/>
                  <a:gd name="T15" fmla="*/ 26 h 65"/>
                  <a:gd name="T16" fmla="*/ 24 w 62"/>
                  <a:gd name="T17" fmla="*/ 22 h 65"/>
                  <a:gd name="T18" fmla="*/ 18 w 62"/>
                  <a:gd name="T19" fmla="*/ 21 h 65"/>
                  <a:gd name="T20" fmla="*/ 11 w 62"/>
                  <a:gd name="T21" fmla="*/ 28 h 65"/>
                  <a:gd name="T22" fmla="*/ 6 w 62"/>
                  <a:gd name="T23" fmla="*/ 28 h 65"/>
                  <a:gd name="T24" fmla="*/ 3 w 62"/>
                  <a:gd name="T25" fmla="*/ 38 h 65"/>
                  <a:gd name="T26" fmla="*/ 0 w 62"/>
                  <a:gd name="T27" fmla="*/ 43 h 65"/>
                  <a:gd name="T28" fmla="*/ 3 w 62"/>
                  <a:gd name="T29" fmla="*/ 47 h 65"/>
                  <a:gd name="T30" fmla="*/ 6 w 62"/>
                  <a:gd name="T31" fmla="*/ 58 h 65"/>
                  <a:gd name="T32" fmla="*/ 11 w 62"/>
                  <a:gd name="T33" fmla="*/ 58 h 65"/>
                  <a:gd name="T34" fmla="*/ 18 w 62"/>
                  <a:gd name="T35" fmla="*/ 65 h 65"/>
                  <a:gd name="T36" fmla="*/ 24 w 62"/>
                  <a:gd name="T37" fmla="*/ 64 h 65"/>
                  <a:gd name="T38" fmla="*/ 32 w 62"/>
                  <a:gd name="T39" fmla="*/ 60 h 65"/>
                  <a:gd name="T40" fmla="*/ 36 w 62"/>
                  <a:gd name="T41" fmla="*/ 59 h 65"/>
                  <a:gd name="T42" fmla="*/ 40 w 62"/>
                  <a:gd name="T43" fmla="*/ 49 h 65"/>
                  <a:gd name="T44" fmla="*/ 44 w 62"/>
                  <a:gd name="T45" fmla="*/ 46 h 65"/>
                  <a:gd name="T46" fmla="*/ 38 w 62"/>
                  <a:gd name="T47" fmla="*/ 53 h 65"/>
                  <a:gd name="T48" fmla="*/ 22 w 62"/>
                  <a:gd name="T49" fmla="*/ 58 h 65"/>
                  <a:gd name="T50" fmla="*/ 6 w 62"/>
                  <a:gd name="T51" fmla="*/ 53 h 65"/>
                  <a:gd name="T52" fmla="*/ 7 w 62"/>
                  <a:gd name="T53" fmla="*/ 38 h 65"/>
                  <a:gd name="T54" fmla="*/ 18 w 62"/>
                  <a:gd name="T55" fmla="*/ 24 h 65"/>
                  <a:gd name="T56" fmla="*/ 36 w 62"/>
                  <a:gd name="T57" fmla="*/ 30 h 65"/>
                  <a:gd name="T58" fmla="*/ 41 w 62"/>
                  <a:gd name="T59" fmla="*/ 44 h 65"/>
                  <a:gd name="T60" fmla="*/ 59 w 62"/>
                  <a:gd name="T61" fmla="*/ 11 h 65"/>
                  <a:gd name="T62" fmla="*/ 60 w 62"/>
                  <a:gd name="T63" fmla="*/ 7 h 65"/>
                  <a:gd name="T64" fmla="*/ 54 w 62"/>
                  <a:gd name="T65" fmla="*/ 4 h 65"/>
                  <a:gd name="T66" fmla="*/ 49 w 62"/>
                  <a:gd name="T67" fmla="*/ 0 h 65"/>
                  <a:gd name="T68" fmla="*/ 46 w 62"/>
                  <a:gd name="T69" fmla="*/ 0 h 65"/>
                  <a:gd name="T70" fmla="*/ 40 w 62"/>
                  <a:gd name="T71" fmla="*/ 4 h 65"/>
                  <a:gd name="T72" fmla="*/ 38 w 62"/>
                  <a:gd name="T73" fmla="*/ 4 h 65"/>
                  <a:gd name="T74" fmla="*/ 35 w 62"/>
                  <a:gd name="T75" fmla="*/ 11 h 65"/>
                  <a:gd name="T76" fmla="*/ 33 w 62"/>
                  <a:gd name="T77" fmla="*/ 14 h 65"/>
                  <a:gd name="T78" fmla="*/ 35 w 62"/>
                  <a:gd name="T79" fmla="*/ 18 h 65"/>
                  <a:gd name="T80" fmla="*/ 37 w 62"/>
                  <a:gd name="T81" fmla="*/ 24 h 65"/>
                  <a:gd name="T82" fmla="*/ 40 w 62"/>
                  <a:gd name="T83" fmla="*/ 25 h 65"/>
                  <a:gd name="T84" fmla="*/ 46 w 62"/>
                  <a:gd name="T85" fmla="*/ 28 h 65"/>
                  <a:gd name="T86" fmla="*/ 49 w 62"/>
                  <a:gd name="T87" fmla="*/ 29 h 65"/>
                  <a:gd name="T88" fmla="*/ 54 w 62"/>
                  <a:gd name="T89" fmla="*/ 24 h 65"/>
                  <a:gd name="T90" fmla="*/ 57 w 62"/>
                  <a:gd name="T91" fmla="*/ 24 h 65"/>
                  <a:gd name="T92" fmla="*/ 59 w 62"/>
                  <a:gd name="T93" fmla="*/ 18 h 65"/>
                  <a:gd name="T94" fmla="*/ 61 w 62"/>
                  <a:gd name="T95" fmla="*/ 12 h 65"/>
                  <a:gd name="T96" fmla="*/ 52 w 62"/>
                  <a:gd name="T97" fmla="*/ 22 h 65"/>
                  <a:gd name="T98" fmla="*/ 43 w 62"/>
                  <a:gd name="T99" fmla="*/ 25 h 65"/>
                  <a:gd name="T100" fmla="*/ 36 w 62"/>
                  <a:gd name="T101" fmla="*/ 15 h 65"/>
                  <a:gd name="T102" fmla="*/ 38 w 62"/>
                  <a:gd name="T103" fmla="*/ 7 h 65"/>
                  <a:gd name="T104" fmla="*/ 50 w 62"/>
                  <a:gd name="T105" fmla="*/ 3 h 65"/>
                  <a:gd name="T106" fmla="*/ 56 w 62"/>
                  <a:gd name="T107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65">
                    <a:moveTo>
                      <a:pt x="22" y="32"/>
                    </a:moveTo>
                    <a:cubicBezTo>
                      <a:pt x="15" y="32"/>
                      <a:pt x="11" y="37"/>
                      <a:pt x="11" y="43"/>
                    </a:cubicBezTo>
                    <a:cubicBezTo>
                      <a:pt x="11" y="49"/>
                      <a:pt x="15" y="54"/>
                      <a:pt x="22" y="54"/>
                    </a:cubicBezTo>
                    <a:cubicBezTo>
                      <a:pt x="28" y="54"/>
                      <a:pt x="33" y="49"/>
                      <a:pt x="33" y="43"/>
                    </a:cubicBezTo>
                    <a:cubicBezTo>
                      <a:pt x="33" y="37"/>
                      <a:pt x="28" y="32"/>
                      <a:pt x="22" y="32"/>
                    </a:cubicBezTo>
                    <a:close/>
                    <a:moveTo>
                      <a:pt x="22" y="52"/>
                    </a:moveTo>
                    <a:cubicBezTo>
                      <a:pt x="17" y="52"/>
                      <a:pt x="13" y="48"/>
                      <a:pt x="13" y="43"/>
                    </a:cubicBezTo>
                    <a:cubicBezTo>
                      <a:pt x="13" y="38"/>
                      <a:pt x="17" y="34"/>
                      <a:pt x="22" y="34"/>
                    </a:cubicBezTo>
                    <a:cubicBezTo>
                      <a:pt x="27" y="34"/>
                      <a:pt x="31" y="38"/>
                      <a:pt x="31" y="43"/>
                    </a:cubicBezTo>
                    <a:cubicBezTo>
                      <a:pt x="31" y="48"/>
                      <a:pt x="27" y="52"/>
                      <a:pt x="22" y="52"/>
                    </a:cubicBezTo>
                    <a:close/>
                    <a:moveTo>
                      <a:pt x="26" y="43"/>
                    </a:moveTo>
                    <a:cubicBezTo>
                      <a:pt x="26" y="45"/>
                      <a:pt x="24" y="47"/>
                      <a:pt x="22" y="47"/>
                    </a:cubicBezTo>
                    <a:cubicBezTo>
                      <a:pt x="19" y="47"/>
                      <a:pt x="17" y="45"/>
                      <a:pt x="17" y="43"/>
                    </a:cubicBezTo>
                    <a:cubicBezTo>
                      <a:pt x="17" y="40"/>
                      <a:pt x="19" y="38"/>
                      <a:pt x="22" y="38"/>
                    </a:cubicBezTo>
                    <a:cubicBezTo>
                      <a:pt x="24" y="38"/>
                      <a:pt x="26" y="40"/>
                      <a:pt x="26" y="43"/>
                    </a:cubicBezTo>
                    <a:close/>
                    <a:moveTo>
                      <a:pt x="47" y="7"/>
                    </a:moveTo>
                    <a:cubicBezTo>
                      <a:pt x="43" y="7"/>
                      <a:pt x="40" y="10"/>
                      <a:pt x="40" y="14"/>
                    </a:cubicBezTo>
                    <a:cubicBezTo>
                      <a:pt x="40" y="18"/>
                      <a:pt x="43" y="21"/>
                      <a:pt x="47" y="21"/>
                    </a:cubicBezTo>
                    <a:cubicBezTo>
                      <a:pt x="51" y="21"/>
                      <a:pt x="54" y="18"/>
                      <a:pt x="54" y="14"/>
                    </a:cubicBezTo>
                    <a:cubicBezTo>
                      <a:pt x="54" y="10"/>
                      <a:pt x="51" y="7"/>
                      <a:pt x="47" y="7"/>
                    </a:cubicBezTo>
                    <a:close/>
                    <a:moveTo>
                      <a:pt x="47" y="19"/>
                    </a:moveTo>
                    <a:cubicBezTo>
                      <a:pt x="44" y="19"/>
                      <a:pt x="42" y="17"/>
                      <a:pt x="42" y="14"/>
                    </a:cubicBezTo>
                    <a:cubicBezTo>
                      <a:pt x="42" y="12"/>
                      <a:pt x="44" y="9"/>
                      <a:pt x="47" y="9"/>
                    </a:cubicBezTo>
                    <a:cubicBezTo>
                      <a:pt x="49" y="9"/>
                      <a:pt x="52" y="12"/>
                      <a:pt x="52" y="14"/>
                    </a:cubicBezTo>
                    <a:cubicBezTo>
                      <a:pt x="52" y="17"/>
                      <a:pt x="49" y="19"/>
                      <a:pt x="47" y="19"/>
                    </a:cubicBezTo>
                    <a:close/>
                    <a:moveTo>
                      <a:pt x="43" y="39"/>
                    </a:moveTo>
                    <a:cubicBezTo>
                      <a:pt x="43" y="38"/>
                      <a:pt x="42" y="38"/>
                      <a:pt x="42" y="38"/>
                    </a:cubicBezTo>
                    <a:cubicBezTo>
                      <a:pt x="42" y="38"/>
                      <a:pt x="42" y="38"/>
                      <a:pt x="41" y="38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0" y="38"/>
                      <a:pt x="40" y="38"/>
                      <a:pt x="40" y="37"/>
                    </a:cubicBezTo>
                    <a:cubicBezTo>
                      <a:pt x="39" y="36"/>
                      <a:pt x="40" y="36"/>
                      <a:pt x="40" y="35"/>
                    </a:cubicBezTo>
                    <a:cubicBezTo>
                      <a:pt x="41" y="35"/>
                      <a:pt x="41" y="35"/>
                      <a:pt x="42" y="34"/>
                    </a:cubicBezTo>
                    <a:cubicBezTo>
                      <a:pt x="42" y="33"/>
                      <a:pt x="42" y="33"/>
                      <a:pt x="41" y="32"/>
                    </a:cubicBezTo>
                    <a:cubicBezTo>
                      <a:pt x="40" y="31"/>
                      <a:pt x="39" y="29"/>
                      <a:pt x="38" y="28"/>
                    </a:cubicBezTo>
                    <a:cubicBezTo>
                      <a:pt x="38" y="27"/>
                      <a:pt x="37" y="27"/>
                      <a:pt x="36" y="27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36" y="27"/>
                      <a:pt x="35" y="27"/>
                      <a:pt x="35" y="28"/>
                    </a:cubicBezTo>
                    <a:cubicBezTo>
                      <a:pt x="35" y="28"/>
                      <a:pt x="34" y="28"/>
                      <a:pt x="34" y="28"/>
                    </a:cubicBezTo>
                    <a:cubicBezTo>
                      <a:pt x="33" y="28"/>
                      <a:pt x="33" y="28"/>
                      <a:pt x="33" y="28"/>
                    </a:cubicBezTo>
                    <a:cubicBezTo>
                      <a:pt x="32" y="27"/>
                      <a:pt x="32" y="27"/>
                      <a:pt x="32" y="26"/>
                    </a:cubicBezTo>
                    <a:cubicBezTo>
                      <a:pt x="33" y="25"/>
                      <a:pt x="33" y="25"/>
                      <a:pt x="33" y="24"/>
                    </a:cubicBezTo>
                    <a:cubicBezTo>
                      <a:pt x="32" y="24"/>
                      <a:pt x="32" y="23"/>
                      <a:pt x="32" y="23"/>
                    </a:cubicBezTo>
                    <a:cubicBezTo>
                      <a:pt x="30" y="22"/>
                      <a:pt x="28" y="22"/>
                      <a:pt x="26" y="21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5" y="21"/>
                      <a:pt x="25" y="21"/>
                      <a:pt x="24" y="22"/>
                    </a:cubicBezTo>
                    <a:cubicBezTo>
                      <a:pt x="24" y="22"/>
                      <a:pt x="24" y="22"/>
                      <a:pt x="24" y="23"/>
                    </a:cubicBezTo>
                    <a:cubicBezTo>
                      <a:pt x="24" y="24"/>
                      <a:pt x="23" y="24"/>
                      <a:pt x="22" y="24"/>
                    </a:cubicBezTo>
                    <a:cubicBezTo>
                      <a:pt x="21" y="24"/>
                      <a:pt x="20" y="24"/>
                      <a:pt x="20" y="23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19" y="21"/>
                      <a:pt x="19" y="21"/>
                      <a:pt x="18" y="21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6" y="22"/>
                      <a:pt x="14" y="22"/>
                      <a:pt x="12" y="23"/>
                    </a:cubicBezTo>
                    <a:cubicBezTo>
                      <a:pt x="12" y="23"/>
                      <a:pt x="12" y="24"/>
                      <a:pt x="11" y="24"/>
                    </a:cubicBezTo>
                    <a:cubicBezTo>
                      <a:pt x="11" y="25"/>
                      <a:pt x="11" y="25"/>
                      <a:pt x="12" y="26"/>
                    </a:cubicBezTo>
                    <a:cubicBezTo>
                      <a:pt x="12" y="27"/>
                      <a:pt x="12" y="27"/>
                      <a:pt x="11" y="28"/>
                    </a:cubicBezTo>
                    <a:cubicBezTo>
                      <a:pt x="11" y="28"/>
                      <a:pt x="11" y="28"/>
                      <a:pt x="10" y="28"/>
                    </a:cubicBezTo>
                    <a:cubicBezTo>
                      <a:pt x="10" y="28"/>
                      <a:pt x="9" y="28"/>
                      <a:pt x="9" y="28"/>
                    </a:cubicBezTo>
                    <a:cubicBezTo>
                      <a:pt x="9" y="27"/>
                      <a:pt x="8" y="27"/>
                      <a:pt x="8" y="27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7" y="27"/>
                      <a:pt x="6" y="27"/>
                      <a:pt x="6" y="28"/>
                    </a:cubicBezTo>
                    <a:cubicBezTo>
                      <a:pt x="5" y="29"/>
                      <a:pt x="4" y="31"/>
                      <a:pt x="3" y="32"/>
                    </a:cubicBezTo>
                    <a:cubicBezTo>
                      <a:pt x="2" y="33"/>
                      <a:pt x="2" y="33"/>
                      <a:pt x="2" y="34"/>
                    </a:cubicBezTo>
                    <a:cubicBezTo>
                      <a:pt x="3" y="35"/>
                      <a:pt x="3" y="35"/>
                      <a:pt x="4" y="35"/>
                    </a:cubicBezTo>
                    <a:cubicBezTo>
                      <a:pt x="4" y="36"/>
                      <a:pt x="5" y="36"/>
                      <a:pt x="4" y="37"/>
                    </a:cubicBezTo>
                    <a:cubicBezTo>
                      <a:pt x="4" y="38"/>
                      <a:pt x="4" y="38"/>
                      <a:pt x="3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38"/>
                      <a:pt x="1" y="38"/>
                      <a:pt x="1" y="39"/>
                    </a:cubicBezTo>
                    <a:cubicBezTo>
                      <a:pt x="1" y="39"/>
                      <a:pt x="0" y="39"/>
                      <a:pt x="0" y="40"/>
                    </a:cubicBezTo>
                    <a:cubicBezTo>
                      <a:pt x="0" y="41"/>
                      <a:pt x="0" y="42"/>
                      <a:pt x="0" y="43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6"/>
                      <a:pt x="1" y="47"/>
                      <a:pt x="1" y="47"/>
                    </a:cubicBezTo>
                    <a:cubicBezTo>
                      <a:pt x="1" y="47"/>
                      <a:pt x="2" y="48"/>
                      <a:pt x="2" y="48"/>
                    </a:cubicBezTo>
                    <a:cubicBezTo>
                      <a:pt x="2" y="48"/>
                      <a:pt x="2" y="48"/>
                      <a:pt x="3" y="47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4" y="47"/>
                      <a:pt x="4" y="48"/>
                      <a:pt x="4" y="49"/>
                    </a:cubicBezTo>
                    <a:cubicBezTo>
                      <a:pt x="5" y="49"/>
                      <a:pt x="4" y="50"/>
                      <a:pt x="4" y="51"/>
                    </a:cubicBezTo>
                    <a:cubicBezTo>
                      <a:pt x="3" y="51"/>
                      <a:pt x="3" y="51"/>
                      <a:pt x="2" y="52"/>
                    </a:cubicBezTo>
                    <a:cubicBezTo>
                      <a:pt x="2" y="52"/>
                      <a:pt x="2" y="53"/>
                      <a:pt x="3" y="53"/>
                    </a:cubicBezTo>
                    <a:cubicBezTo>
                      <a:pt x="4" y="55"/>
                      <a:pt x="5" y="57"/>
                      <a:pt x="6" y="58"/>
                    </a:cubicBezTo>
                    <a:cubicBezTo>
                      <a:pt x="6" y="58"/>
                      <a:pt x="7" y="59"/>
                      <a:pt x="8" y="59"/>
                    </a:cubicBezTo>
                    <a:cubicBezTo>
                      <a:pt x="8" y="59"/>
                      <a:pt x="8" y="59"/>
                      <a:pt x="8" y="59"/>
                    </a:cubicBezTo>
                    <a:cubicBezTo>
                      <a:pt x="8" y="59"/>
                      <a:pt x="9" y="58"/>
                      <a:pt x="9" y="58"/>
                    </a:cubicBezTo>
                    <a:cubicBezTo>
                      <a:pt x="9" y="58"/>
                      <a:pt x="10" y="57"/>
                      <a:pt x="10" y="57"/>
                    </a:cubicBezTo>
                    <a:cubicBezTo>
                      <a:pt x="11" y="57"/>
                      <a:pt x="11" y="58"/>
                      <a:pt x="11" y="58"/>
                    </a:cubicBezTo>
                    <a:cubicBezTo>
                      <a:pt x="12" y="58"/>
                      <a:pt x="12" y="59"/>
                      <a:pt x="12" y="60"/>
                    </a:cubicBezTo>
                    <a:cubicBezTo>
                      <a:pt x="11" y="60"/>
                      <a:pt x="11" y="61"/>
                      <a:pt x="11" y="61"/>
                    </a:cubicBezTo>
                    <a:cubicBezTo>
                      <a:pt x="12" y="62"/>
                      <a:pt x="12" y="62"/>
                      <a:pt x="12" y="63"/>
                    </a:cubicBezTo>
                    <a:cubicBezTo>
                      <a:pt x="14" y="64"/>
                      <a:pt x="16" y="64"/>
                      <a:pt x="18" y="65"/>
                    </a:cubicBezTo>
                    <a:cubicBezTo>
                      <a:pt x="18" y="65"/>
                      <a:pt x="18" y="65"/>
                      <a:pt x="18" y="65"/>
                    </a:cubicBezTo>
                    <a:cubicBezTo>
                      <a:pt x="19" y="65"/>
                      <a:pt x="19" y="64"/>
                      <a:pt x="20" y="64"/>
                    </a:cubicBezTo>
                    <a:cubicBezTo>
                      <a:pt x="20" y="64"/>
                      <a:pt x="20" y="63"/>
                      <a:pt x="20" y="63"/>
                    </a:cubicBezTo>
                    <a:cubicBezTo>
                      <a:pt x="20" y="62"/>
                      <a:pt x="21" y="61"/>
                      <a:pt x="22" y="61"/>
                    </a:cubicBezTo>
                    <a:cubicBezTo>
                      <a:pt x="23" y="61"/>
                      <a:pt x="24" y="62"/>
                      <a:pt x="24" y="63"/>
                    </a:cubicBezTo>
                    <a:cubicBezTo>
                      <a:pt x="24" y="63"/>
                      <a:pt x="24" y="64"/>
                      <a:pt x="24" y="64"/>
                    </a:cubicBezTo>
                    <a:cubicBezTo>
                      <a:pt x="25" y="64"/>
                      <a:pt x="25" y="65"/>
                      <a:pt x="26" y="65"/>
                    </a:cubicBezTo>
                    <a:cubicBezTo>
                      <a:pt x="26" y="65"/>
                      <a:pt x="26" y="65"/>
                      <a:pt x="26" y="65"/>
                    </a:cubicBezTo>
                    <a:cubicBezTo>
                      <a:pt x="28" y="64"/>
                      <a:pt x="30" y="64"/>
                      <a:pt x="32" y="63"/>
                    </a:cubicBezTo>
                    <a:cubicBezTo>
                      <a:pt x="32" y="62"/>
                      <a:pt x="32" y="62"/>
                      <a:pt x="33" y="61"/>
                    </a:cubicBezTo>
                    <a:cubicBezTo>
                      <a:pt x="33" y="61"/>
                      <a:pt x="33" y="60"/>
                      <a:pt x="32" y="60"/>
                    </a:cubicBezTo>
                    <a:cubicBezTo>
                      <a:pt x="32" y="59"/>
                      <a:pt x="32" y="58"/>
                      <a:pt x="33" y="58"/>
                    </a:cubicBezTo>
                    <a:cubicBezTo>
                      <a:pt x="33" y="58"/>
                      <a:pt x="33" y="57"/>
                      <a:pt x="34" y="57"/>
                    </a:cubicBezTo>
                    <a:cubicBezTo>
                      <a:pt x="34" y="57"/>
                      <a:pt x="35" y="58"/>
                      <a:pt x="35" y="58"/>
                    </a:cubicBezTo>
                    <a:cubicBezTo>
                      <a:pt x="35" y="58"/>
                      <a:pt x="36" y="59"/>
                      <a:pt x="36" y="59"/>
                    </a:cubicBezTo>
                    <a:cubicBezTo>
                      <a:pt x="36" y="59"/>
                      <a:pt x="36" y="59"/>
                      <a:pt x="36" y="59"/>
                    </a:cubicBezTo>
                    <a:cubicBezTo>
                      <a:pt x="37" y="59"/>
                      <a:pt x="38" y="58"/>
                      <a:pt x="38" y="58"/>
                    </a:cubicBezTo>
                    <a:cubicBezTo>
                      <a:pt x="39" y="57"/>
                      <a:pt x="40" y="55"/>
                      <a:pt x="41" y="53"/>
                    </a:cubicBezTo>
                    <a:cubicBezTo>
                      <a:pt x="42" y="53"/>
                      <a:pt x="42" y="52"/>
                      <a:pt x="42" y="52"/>
                    </a:cubicBezTo>
                    <a:cubicBezTo>
                      <a:pt x="41" y="51"/>
                      <a:pt x="41" y="51"/>
                      <a:pt x="40" y="51"/>
                    </a:cubicBezTo>
                    <a:cubicBezTo>
                      <a:pt x="40" y="50"/>
                      <a:pt x="39" y="49"/>
                      <a:pt x="40" y="49"/>
                    </a:cubicBezTo>
                    <a:cubicBezTo>
                      <a:pt x="40" y="48"/>
                      <a:pt x="40" y="47"/>
                      <a:pt x="41" y="47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42" y="48"/>
                      <a:pt x="42" y="48"/>
                      <a:pt x="42" y="48"/>
                    </a:cubicBezTo>
                    <a:cubicBezTo>
                      <a:pt x="42" y="48"/>
                      <a:pt x="43" y="47"/>
                      <a:pt x="43" y="47"/>
                    </a:cubicBezTo>
                    <a:cubicBezTo>
                      <a:pt x="43" y="47"/>
                      <a:pt x="44" y="46"/>
                      <a:pt x="44" y="46"/>
                    </a:cubicBezTo>
                    <a:cubicBezTo>
                      <a:pt x="44" y="45"/>
                      <a:pt x="44" y="44"/>
                      <a:pt x="44" y="43"/>
                    </a:cubicBezTo>
                    <a:cubicBezTo>
                      <a:pt x="44" y="42"/>
                      <a:pt x="44" y="41"/>
                      <a:pt x="44" y="40"/>
                    </a:cubicBezTo>
                    <a:cubicBezTo>
                      <a:pt x="44" y="39"/>
                      <a:pt x="43" y="39"/>
                      <a:pt x="43" y="39"/>
                    </a:cubicBezTo>
                    <a:close/>
                    <a:moveTo>
                      <a:pt x="37" y="48"/>
                    </a:moveTo>
                    <a:cubicBezTo>
                      <a:pt x="36" y="50"/>
                      <a:pt x="37" y="52"/>
                      <a:pt x="38" y="53"/>
                    </a:cubicBezTo>
                    <a:cubicBezTo>
                      <a:pt x="38" y="54"/>
                      <a:pt x="37" y="54"/>
                      <a:pt x="36" y="55"/>
                    </a:cubicBezTo>
                    <a:cubicBezTo>
                      <a:pt x="35" y="54"/>
                      <a:pt x="33" y="54"/>
                      <a:pt x="31" y="55"/>
                    </a:cubicBezTo>
                    <a:cubicBezTo>
                      <a:pt x="29" y="57"/>
                      <a:pt x="29" y="59"/>
                      <a:pt x="29" y="60"/>
                    </a:cubicBezTo>
                    <a:cubicBezTo>
                      <a:pt x="28" y="61"/>
                      <a:pt x="27" y="61"/>
                      <a:pt x="26" y="61"/>
                    </a:cubicBezTo>
                    <a:cubicBezTo>
                      <a:pt x="26" y="60"/>
                      <a:pt x="24" y="58"/>
                      <a:pt x="22" y="58"/>
                    </a:cubicBezTo>
                    <a:cubicBezTo>
                      <a:pt x="20" y="58"/>
                      <a:pt x="18" y="60"/>
                      <a:pt x="18" y="61"/>
                    </a:cubicBezTo>
                    <a:cubicBezTo>
                      <a:pt x="17" y="61"/>
                      <a:pt x="16" y="61"/>
                      <a:pt x="15" y="60"/>
                    </a:cubicBezTo>
                    <a:cubicBezTo>
                      <a:pt x="15" y="59"/>
                      <a:pt x="15" y="57"/>
                      <a:pt x="13" y="55"/>
                    </a:cubicBezTo>
                    <a:cubicBezTo>
                      <a:pt x="11" y="54"/>
                      <a:pt x="9" y="54"/>
                      <a:pt x="8" y="55"/>
                    </a:cubicBezTo>
                    <a:cubicBezTo>
                      <a:pt x="7" y="54"/>
                      <a:pt x="6" y="54"/>
                      <a:pt x="6" y="53"/>
                    </a:cubicBezTo>
                    <a:cubicBezTo>
                      <a:pt x="7" y="52"/>
                      <a:pt x="8" y="50"/>
                      <a:pt x="7" y="48"/>
                    </a:cubicBezTo>
                    <a:cubicBezTo>
                      <a:pt x="7" y="46"/>
                      <a:pt x="5" y="44"/>
                      <a:pt x="3" y="44"/>
                    </a:cubicBezTo>
                    <a:cubicBezTo>
                      <a:pt x="3" y="44"/>
                      <a:pt x="3" y="43"/>
                      <a:pt x="3" y="43"/>
                    </a:cubicBezTo>
                    <a:cubicBezTo>
                      <a:pt x="3" y="42"/>
                      <a:pt x="3" y="42"/>
                      <a:pt x="3" y="41"/>
                    </a:cubicBezTo>
                    <a:cubicBezTo>
                      <a:pt x="5" y="41"/>
                      <a:pt x="7" y="40"/>
                      <a:pt x="7" y="38"/>
                    </a:cubicBezTo>
                    <a:cubicBezTo>
                      <a:pt x="8" y="36"/>
                      <a:pt x="7" y="34"/>
                      <a:pt x="6" y="33"/>
                    </a:cubicBezTo>
                    <a:cubicBezTo>
                      <a:pt x="6" y="32"/>
                      <a:pt x="7" y="31"/>
                      <a:pt x="8" y="30"/>
                    </a:cubicBezTo>
                    <a:cubicBezTo>
                      <a:pt x="9" y="32"/>
                      <a:pt x="11" y="32"/>
                      <a:pt x="13" y="30"/>
                    </a:cubicBezTo>
                    <a:cubicBezTo>
                      <a:pt x="15" y="29"/>
                      <a:pt x="15" y="27"/>
                      <a:pt x="15" y="25"/>
                    </a:cubicBezTo>
                    <a:cubicBezTo>
                      <a:pt x="16" y="25"/>
                      <a:pt x="17" y="25"/>
                      <a:pt x="18" y="24"/>
                    </a:cubicBezTo>
                    <a:cubicBezTo>
                      <a:pt x="18" y="26"/>
                      <a:pt x="20" y="27"/>
                      <a:pt x="22" y="27"/>
                    </a:cubicBezTo>
                    <a:cubicBezTo>
                      <a:pt x="24" y="27"/>
                      <a:pt x="26" y="26"/>
                      <a:pt x="26" y="24"/>
                    </a:cubicBezTo>
                    <a:cubicBezTo>
                      <a:pt x="27" y="25"/>
                      <a:pt x="28" y="25"/>
                      <a:pt x="29" y="25"/>
                    </a:cubicBezTo>
                    <a:cubicBezTo>
                      <a:pt x="29" y="27"/>
                      <a:pt x="29" y="29"/>
                      <a:pt x="31" y="30"/>
                    </a:cubicBezTo>
                    <a:cubicBezTo>
                      <a:pt x="33" y="32"/>
                      <a:pt x="35" y="32"/>
                      <a:pt x="36" y="30"/>
                    </a:cubicBezTo>
                    <a:cubicBezTo>
                      <a:pt x="37" y="31"/>
                      <a:pt x="38" y="32"/>
                      <a:pt x="38" y="33"/>
                    </a:cubicBezTo>
                    <a:cubicBezTo>
                      <a:pt x="37" y="34"/>
                      <a:pt x="36" y="36"/>
                      <a:pt x="37" y="38"/>
                    </a:cubicBezTo>
                    <a:cubicBezTo>
                      <a:pt x="37" y="40"/>
                      <a:pt x="39" y="41"/>
                      <a:pt x="41" y="41"/>
                    </a:cubicBezTo>
                    <a:cubicBezTo>
                      <a:pt x="41" y="42"/>
                      <a:pt x="41" y="42"/>
                      <a:pt x="41" y="43"/>
                    </a:cubicBezTo>
                    <a:cubicBezTo>
                      <a:pt x="41" y="43"/>
                      <a:pt x="41" y="44"/>
                      <a:pt x="41" y="44"/>
                    </a:cubicBezTo>
                    <a:cubicBezTo>
                      <a:pt x="39" y="44"/>
                      <a:pt x="37" y="46"/>
                      <a:pt x="37" y="48"/>
                    </a:cubicBezTo>
                    <a:close/>
                    <a:moveTo>
                      <a:pt x="61" y="12"/>
                    </a:moveTo>
                    <a:cubicBezTo>
                      <a:pt x="61" y="12"/>
                      <a:pt x="61" y="11"/>
                      <a:pt x="61" y="11"/>
                    </a:cubicBezTo>
                    <a:cubicBezTo>
                      <a:pt x="60" y="11"/>
                      <a:pt x="60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0"/>
                      <a:pt x="59" y="10"/>
                      <a:pt x="59" y="10"/>
                    </a:cubicBezTo>
                    <a:cubicBezTo>
                      <a:pt x="59" y="10"/>
                      <a:pt x="60" y="10"/>
                      <a:pt x="60" y="9"/>
                    </a:cubicBezTo>
                    <a:cubicBezTo>
                      <a:pt x="60" y="9"/>
                      <a:pt x="60" y="8"/>
                      <a:pt x="60" y="7"/>
                    </a:cubicBezTo>
                    <a:cubicBezTo>
                      <a:pt x="59" y="6"/>
                      <a:pt x="58" y="5"/>
                      <a:pt x="57" y="4"/>
                    </a:cubicBezTo>
                    <a:cubicBezTo>
                      <a:pt x="57" y="4"/>
                      <a:pt x="57" y="4"/>
                      <a:pt x="56" y="4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4"/>
                      <a:pt x="55" y="3"/>
                      <a:pt x="54" y="2"/>
                    </a:cubicBezTo>
                    <a:cubicBezTo>
                      <a:pt x="54" y="2"/>
                      <a:pt x="54" y="1"/>
                      <a:pt x="53" y="1"/>
                    </a:cubicBezTo>
                    <a:cubicBezTo>
                      <a:pt x="52" y="1"/>
                      <a:pt x="51" y="0"/>
                      <a:pt x="50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9" y="0"/>
                      <a:pt x="48" y="0"/>
                      <a:pt x="48" y="0"/>
                    </a:cubicBezTo>
                    <a:cubicBezTo>
                      <a:pt x="48" y="1"/>
                      <a:pt x="47" y="1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1"/>
                      <a:pt x="46" y="1"/>
                      <a:pt x="46" y="0"/>
                    </a:cubicBezTo>
                    <a:cubicBezTo>
                      <a:pt x="46" y="0"/>
                      <a:pt x="45" y="0"/>
                      <a:pt x="45" y="0"/>
                    </a:cubicBezTo>
                    <a:cubicBezTo>
                      <a:pt x="45" y="0"/>
                      <a:pt x="45" y="0"/>
                      <a:pt x="44" y="0"/>
                    </a:cubicBezTo>
                    <a:cubicBezTo>
                      <a:pt x="43" y="0"/>
                      <a:pt x="42" y="1"/>
                      <a:pt x="41" y="1"/>
                    </a:cubicBezTo>
                    <a:cubicBezTo>
                      <a:pt x="40" y="1"/>
                      <a:pt x="40" y="2"/>
                      <a:pt x="40" y="2"/>
                    </a:cubicBezTo>
                    <a:cubicBezTo>
                      <a:pt x="40" y="3"/>
                      <a:pt x="40" y="4"/>
                      <a:pt x="40" y="4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0" y="4"/>
                      <a:pt x="40" y="4"/>
                      <a:pt x="39" y="4"/>
                    </a:cubicBezTo>
                    <a:cubicBezTo>
                      <a:pt x="39" y="4"/>
                      <a:pt x="39" y="4"/>
                      <a:pt x="38" y="4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5"/>
                      <a:pt x="35" y="6"/>
                      <a:pt x="34" y="7"/>
                    </a:cubicBezTo>
                    <a:cubicBezTo>
                      <a:pt x="34" y="8"/>
                      <a:pt x="34" y="9"/>
                      <a:pt x="34" y="9"/>
                    </a:cubicBezTo>
                    <a:cubicBezTo>
                      <a:pt x="34" y="10"/>
                      <a:pt x="35" y="10"/>
                      <a:pt x="35" y="10"/>
                    </a:cubicBezTo>
                    <a:cubicBezTo>
                      <a:pt x="35" y="10"/>
                      <a:pt x="35" y="10"/>
                      <a:pt x="35" y="11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3" y="11"/>
                      <a:pt x="33" y="12"/>
                      <a:pt x="33" y="12"/>
                    </a:cubicBezTo>
                    <a:cubicBezTo>
                      <a:pt x="33" y="13"/>
                      <a:pt x="33" y="14"/>
                      <a:pt x="33" y="14"/>
                    </a:cubicBezTo>
                    <a:cubicBezTo>
                      <a:pt x="33" y="15"/>
                      <a:pt x="33" y="16"/>
                      <a:pt x="33" y="16"/>
                    </a:cubicBezTo>
                    <a:cubicBezTo>
                      <a:pt x="33" y="17"/>
                      <a:pt x="33" y="17"/>
                      <a:pt x="33" y="18"/>
                    </a:cubicBezTo>
                    <a:cubicBezTo>
                      <a:pt x="34" y="18"/>
                      <a:pt x="34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9"/>
                      <a:pt x="34" y="19"/>
                      <a:pt x="34" y="20"/>
                    </a:cubicBezTo>
                    <a:cubicBezTo>
                      <a:pt x="34" y="20"/>
                      <a:pt x="34" y="21"/>
                      <a:pt x="34" y="21"/>
                    </a:cubicBezTo>
                    <a:cubicBezTo>
                      <a:pt x="35" y="22"/>
                      <a:pt x="36" y="23"/>
                      <a:pt x="37" y="24"/>
                    </a:cubicBezTo>
                    <a:cubicBezTo>
                      <a:pt x="37" y="25"/>
                      <a:pt x="37" y="25"/>
                      <a:pt x="38" y="25"/>
                    </a:cubicBezTo>
                    <a:cubicBezTo>
                      <a:pt x="38" y="25"/>
                      <a:pt x="38" y="25"/>
                      <a:pt x="38" y="25"/>
                    </a:cubicBezTo>
                    <a:cubicBezTo>
                      <a:pt x="39" y="25"/>
                      <a:pt x="39" y="25"/>
                      <a:pt x="39" y="24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0" y="24"/>
                      <a:pt x="40" y="24"/>
                      <a:pt x="40" y="25"/>
                    </a:cubicBezTo>
                    <a:cubicBezTo>
                      <a:pt x="40" y="25"/>
                      <a:pt x="40" y="26"/>
                      <a:pt x="40" y="26"/>
                    </a:cubicBezTo>
                    <a:cubicBezTo>
                      <a:pt x="40" y="27"/>
                      <a:pt x="40" y="27"/>
                      <a:pt x="41" y="27"/>
                    </a:cubicBezTo>
                    <a:cubicBezTo>
                      <a:pt x="42" y="28"/>
                      <a:pt x="43" y="28"/>
                      <a:pt x="44" y="29"/>
                    </a:cubicBezTo>
                    <a:cubicBezTo>
                      <a:pt x="45" y="29"/>
                      <a:pt x="45" y="29"/>
                      <a:pt x="45" y="29"/>
                    </a:cubicBezTo>
                    <a:cubicBezTo>
                      <a:pt x="45" y="29"/>
                      <a:pt x="46" y="28"/>
                      <a:pt x="46" y="28"/>
                    </a:cubicBezTo>
                    <a:cubicBezTo>
                      <a:pt x="46" y="28"/>
                      <a:pt x="47" y="27"/>
                      <a:pt x="47" y="27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7" y="27"/>
                      <a:pt x="48" y="28"/>
                      <a:pt x="48" y="28"/>
                    </a:cubicBezTo>
                    <a:cubicBezTo>
                      <a:pt x="48" y="28"/>
                      <a:pt x="49" y="29"/>
                      <a:pt x="49" y="29"/>
                    </a:cubicBezTo>
                    <a:cubicBezTo>
                      <a:pt x="49" y="29"/>
                      <a:pt x="49" y="29"/>
                      <a:pt x="50" y="29"/>
                    </a:cubicBezTo>
                    <a:cubicBezTo>
                      <a:pt x="51" y="28"/>
                      <a:pt x="52" y="28"/>
                      <a:pt x="53" y="27"/>
                    </a:cubicBezTo>
                    <a:cubicBezTo>
                      <a:pt x="54" y="27"/>
                      <a:pt x="54" y="27"/>
                      <a:pt x="54" y="26"/>
                    </a:cubicBezTo>
                    <a:cubicBezTo>
                      <a:pt x="55" y="26"/>
                      <a:pt x="54" y="25"/>
                      <a:pt x="54" y="25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24"/>
                      <a:pt x="54" y="24"/>
                      <a:pt x="55" y="24"/>
                    </a:cubicBezTo>
                    <a:cubicBezTo>
                      <a:pt x="55" y="25"/>
                      <a:pt x="55" y="25"/>
                      <a:pt x="56" y="25"/>
                    </a:cubicBezTo>
                    <a:cubicBezTo>
                      <a:pt x="56" y="25"/>
                      <a:pt x="56" y="25"/>
                      <a:pt x="56" y="25"/>
                    </a:cubicBezTo>
                    <a:cubicBezTo>
                      <a:pt x="57" y="25"/>
                      <a:pt x="57" y="25"/>
                      <a:pt x="57" y="24"/>
                    </a:cubicBezTo>
                    <a:cubicBezTo>
                      <a:pt x="58" y="23"/>
                      <a:pt x="59" y="22"/>
                      <a:pt x="60" y="21"/>
                    </a:cubicBezTo>
                    <a:cubicBezTo>
                      <a:pt x="60" y="21"/>
                      <a:pt x="60" y="20"/>
                      <a:pt x="60" y="20"/>
                    </a:cubicBezTo>
                    <a:cubicBezTo>
                      <a:pt x="60" y="19"/>
                      <a:pt x="59" y="19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61" y="17"/>
                      <a:pt x="61" y="17"/>
                      <a:pt x="61" y="16"/>
                    </a:cubicBezTo>
                    <a:cubicBezTo>
                      <a:pt x="61" y="16"/>
                      <a:pt x="62" y="15"/>
                      <a:pt x="62" y="14"/>
                    </a:cubicBezTo>
                    <a:cubicBezTo>
                      <a:pt x="62" y="14"/>
                      <a:pt x="61" y="13"/>
                      <a:pt x="61" y="12"/>
                    </a:cubicBezTo>
                    <a:close/>
                    <a:moveTo>
                      <a:pt x="58" y="15"/>
                    </a:moveTo>
                    <a:cubicBezTo>
                      <a:pt x="57" y="15"/>
                      <a:pt x="56" y="16"/>
                      <a:pt x="56" y="17"/>
                    </a:cubicBezTo>
                    <a:cubicBezTo>
                      <a:pt x="55" y="18"/>
                      <a:pt x="56" y="20"/>
                      <a:pt x="57" y="21"/>
                    </a:cubicBezTo>
                    <a:cubicBezTo>
                      <a:pt x="56" y="21"/>
                      <a:pt x="56" y="21"/>
                      <a:pt x="56" y="22"/>
                    </a:cubicBezTo>
                    <a:cubicBezTo>
                      <a:pt x="55" y="21"/>
                      <a:pt x="53" y="21"/>
                      <a:pt x="52" y="22"/>
                    </a:cubicBezTo>
                    <a:cubicBezTo>
                      <a:pt x="51" y="23"/>
                      <a:pt x="51" y="24"/>
                      <a:pt x="51" y="25"/>
                    </a:cubicBezTo>
                    <a:cubicBezTo>
                      <a:pt x="51" y="25"/>
                      <a:pt x="50" y="25"/>
                      <a:pt x="50" y="25"/>
                    </a:cubicBezTo>
                    <a:cubicBezTo>
                      <a:pt x="49" y="24"/>
                      <a:pt x="48" y="24"/>
                      <a:pt x="47" y="24"/>
                    </a:cubicBezTo>
                    <a:cubicBezTo>
                      <a:pt x="46" y="24"/>
                      <a:pt x="45" y="24"/>
                      <a:pt x="44" y="25"/>
                    </a:cubicBezTo>
                    <a:cubicBezTo>
                      <a:pt x="44" y="25"/>
                      <a:pt x="43" y="25"/>
                      <a:pt x="43" y="25"/>
                    </a:cubicBezTo>
                    <a:cubicBezTo>
                      <a:pt x="43" y="24"/>
                      <a:pt x="43" y="23"/>
                      <a:pt x="42" y="22"/>
                    </a:cubicBezTo>
                    <a:cubicBezTo>
                      <a:pt x="41" y="21"/>
                      <a:pt x="39" y="21"/>
                      <a:pt x="38" y="22"/>
                    </a:cubicBezTo>
                    <a:cubicBezTo>
                      <a:pt x="38" y="21"/>
                      <a:pt x="38" y="21"/>
                      <a:pt x="37" y="21"/>
                    </a:cubicBezTo>
                    <a:cubicBezTo>
                      <a:pt x="38" y="20"/>
                      <a:pt x="39" y="18"/>
                      <a:pt x="38" y="17"/>
                    </a:cubicBezTo>
                    <a:cubicBezTo>
                      <a:pt x="38" y="16"/>
                      <a:pt x="37" y="15"/>
                      <a:pt x="36" y="15"/>
                    </a:cubicBezTo>
                    <a:cubicBezTo>
                      <a:pt x="36" y="15"/>
                      <a:pt x="36" y="15"/>
                      <a:pt x="36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7" y="14"/>
                      <a:pt x="38" y="13"/>
                      <a:pt x="38" y="11"/>
                    </a:cubicBezTo>
                    <a:cubicBezTo>
                      <a:pt x="39" y="10"/>
                      <a:pt x="38" y="9"/>
                      <a:pt x="37" y="8"/>
                    </a:cubicBezTo>
                    <a:cubicBezTo>
                      <a:pt x="38" y="8"/>
                      <a:pt x="38" y="7"/>
                      <a:pt x="38" y="7"/>
                    </a:cubicBezTo>
                    <a:cubicBezTo>
                      <a:pt x="39" y="8"/>
                      <a:pt x="41" y="8"/>
                      <a:pt x="42" y="7"/>
                    </a:cubicBezTo>
                    <a:cubicBezTo>
                      <a:pt x="43" y="6"/>
                      <a:pt x="43" y="5"/>
                      <a:pt x="43" y="4"/>
                    </a:cubicBezTo>
                    <a:cubicBezTo>
                      <a:pt x="43" y="3"/>
                      <a:pt x="44" y="3"/>
                      <a:pt x="44" y="3"/>
                    </a:cubicBezTo>
                    <a:cubicBezTo>
                      <a:pt x="45" y="4"/>
                      <a:pt x="46" y="5"/>
                      <a:pt x="47" y="5"/>
                    </a:cubicBezTo>
                    <a:cubicBezTo>
                      <a:pt x="48" y="5"/>
                      <a:pt x="49" y="4"/>
                      <a:pt x="50" y="3"/>
                    </a:cubicBezTo>
                    <a:cubicBezTo>
                      <a:pt x="50" y="3"/>
                      <a:pt x="51" y="3"/>
                      <a:pt x="51" y="4"/>
                    </a:cubicBezTo>
                    <a:cubicBezTo>
                      <a:pt x="51" y="5"/>
                      <a:pt x="51" y="6"/>
                      <a:pt x="52" y="7"/>
                    </a:cubicBezTo>
                    <a:cubicBezTo>
                      <a:pt x="53" y="8"/>
                      <a:pt x="55" y="8"/>
                      <a:pt x="56" y="7"/>
                    </a:cubicBezTo>
                    <a:cubicBezTo>
                      <a:pt x="56" y="7"/>
                      <a:pt x="56" y="8"/>
                      <a:pt x="57" y="8"/>
                    </a:cubicBezTo>
                    <a:cubicBezTo>
                      <a:pt x="56" y="9"/>
                      <a:pt x="55" y="10"/>
                      <a:pt x="56" y="11"/>
                    </a:cubicBezTo>
                    <a:cubicBezTo>
                      <a:pt x="56" y="13"/>
                      <a:pt x="57" y="14"/>
                      <a:pt x="58" y="14"/>
                    </a:cubicBezTo>
                    <a:cubicBezTo>
                      <a:pt x="58" y="14"/>
                      <a:pt x="59" y="14"/>
                      <a:pt x="59" y="14"/>
                    </a:cubicBezTo>
                    <a:cubicBezTo>
                      <a:pt x="59" y="15"/>
                      <a:pt x="58" y="15"/>
                      <a:pt x="58" y="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4" name="Freeform 34">
                <a:extLst>
                  <a:ext uri="{FF2B5EF4-FFF2-40B4-BE49-F238E27FC236}">
                    <a16:creationId xmlns:a16="http://schemas.microsoft.com/office/drawing/2014/main" id="{C6E67A7E-3076-4400-86CB-3161748C78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25451" y="9033045"/>
                <a:ext cx="717911" cy="963051"/>
              </a:xfrm>
              <a:custGeom>
                <a:avLst/>
                <a:gdLst>
                  <a:gd name="T0" fmla="*/ 13 w 52"/>
                  <a:gd name="T1" fmla="*/ 18 h 70"/>
                  <a:gd name="T2" fmla="*/ 12 w 52"/>
                  <a:gd name="T3" fmla="*/ 17 h 70"/>
                  <a:gd name="T4" fmla="*/ 11 w 52"/>
                  <a:gd name="T5" fmla="*/ 15 h 70"/>
                  <a:gd name="T6" fmla="*/ 51 w 52"/>
                  <a:gd name="T7" fmla="*/ 50 h 70"/>
                  <a:gd name="T8" fmla="*/ 49 w 52"/>
                  <a:gd name="T9" fmla="*/ 60 h 70"/>
                  <a:gd name="T10" fmla="*/ 51 w 52"/>
                  <a:gd name="T11" fmla="*/ 69 h 70"/>
                  <a:gd name="T12" fmla="*/ 0 w 52"/>
                  <a:gd name="T13" fmla="*/ 69 h 70"/>
                  <a:gd name="T14" fmla="*/ 1 w 52"/>
                  <a:gd name="T15" fmla="*/ 60 h 70"/>
                  <a:gd name="T16" fmla="*/ 4 w 52"/>
                  <a:gd name="T17" fmla="*/ 45 h 70"/>
                  <a:gd name="T18" fmla="*/ 19 w 52"/>
                  <a:gd name="T19" fmla="*/ 27 h 70"/>
                  <a:gd name="T20" fmla="*/ 15 w 52"/>
                  <a:gd name="T21" fmla="*/ 30 h 70"/>
                  <a:gd name="T22" fmla="*/ 10 w 52"/>
                  <a:gd name="T23" fmla="*/ 34 h 70"/>
                  <a:gd name="T24" fmla="*/ 2 w 52"/>
                  <a:gd name="T25" fmla="*/ 28 h 70"/>
                  <a:gd name="T26" fmla="*/ 8 w 52"/>
                  <a:gd name="T27" fmla="*/ 14 h 70"/>
                  <a:gd name="T28" fmla="*/ 13 w 52"/>
                  <a:gd name="T29" fmla="*/ 5 h 70"/>
                  <a:gd name="T30" fmla="*/ 12 w 52"/>
                  <a:gd name="T31" fmla="*/ 0 h 70"/>
                  <a:gd name="T32" fmla="*/ 12 w 52"/>
                  <a:gd name="T33" fmla="*/ 0 h 70"/>
                  <a:gd name="T34" fmla="*/ 14 w 52"/>
                  <a:gd name="T35" fmla="*/ 0 h 70"/>
                  <a:gd name="T36" fmla="*/ 43 w 52"/>
                  <a:gd name="T37" fmla="*/ 13 h 70"/>
                  <a:gd name="T38" fmla="*/ 51 w 52"/>
                  <a:gd name="T39" fmla="*/ 47 h 70"/>
                  <a:gd name="T40" fmla="*/ 2 w 52"/>
                  <a:gd name="T41" fmla="*/ 62 h 70"/>
                  <a:gd name="T42" fmla="*/ 48 w 52"/>
                  <a:gd name="T43" fmla="*/ 62 h 70"/>
                  <a:gd name="T44" fmla="*/ 2 w 52"/>
                  <a:gd name="T45" fmla="*/ 62 h 70"/>
                  <a:gd name="T46" fmla="*/ 6 w 52"/>
                  <a:gd name="T47" fmla="*/ 56 h 70"/>
                  <a:gd name="T48" fmla="*/ 44 w 52"/>
                  <a:gd name="T49" fmla="*/ 60 h 70"/>
                  <a:gd name="T50" fmla="*/ 12 w 52"/>
                  <a:gd name="T51" fmla="*/ 41 h 70"/>
                  <a:gd name="T52" fmla="*/ 6 w 52"/>
                  <a:gd name="T53" fmla="*/ 54 h 70"/>
                  <a:gd name="T54" fmla="*/ 15 w 52"/>
                  <a:gd name="T55" fmla="*/ 42 h 70"/>
                  <a:gd name="T56" fmla="*/ 12 w 52"/>
                  <a:gd name="T57" fmla="*/ 48 h 70"/>
                  <a:gd name="T58" fmla="*/ 41 w 52"/>
                  <a:gd name="T59" fmla="*/ 54 h 70"/>
                  <a:gd name="T60" fmla="*/ 39 w 52"/>
                  <a:gd name="T61" fmla="*/ 17 h 70"/>
                  <a:gd name="T62" fmla="*/ 22 w 52"/>
                  <a:gd name="T63" fmla="*/ 6 h 70"/>
                  <a:gd name="T64" fmla="*/ 20 w 52"/>
                  <a:gd name="T65" fmla="*/ 5 h 70"/>
                  <a:gd name="T66" fmla="*/ 18 w 52"/>
                  <a:gd name="T67" fmla="*/ 4 h 70"/>
                  <a:gd name="T68" fmla="*/ 19 w 52"/>
                  <a:gd name="T69" fmla="*/ 7 h 70"/>
                  <a:gd name="T70" fmla="*/ 17 w 52"/>
                  <a:gd name="T71" fmla="*/ 8 h 70"/>
                  <a:gd name="T72" fmla="*/ 11 w 52"/>
                  <a:gd name="T73" fmla="*/ 14 h 70"/>
                  <a:gd name="T74" fmla="*/ 4 w 52"/>
                  <a:gd name="T75" fmla="*/ 28 h 70"/>
                  <a:gd name="T76" fmla="*/ 10 w 52"/>
                  <a:gd name="T77" fmla="*/ 31 h 70"/>
                  <a:gd name="T78" fmla="*/ 16 w 52"/>
                  <a:gd name="T79" fmla="*/ 25 h 70"/>
                  <a:gd name="T80" fmla="*/ 21 w 52"/>
                  <a:gd name="T81" fmla="*/ 25 h 70"/>
                  <a:gd name="T82" fmla="*/ 30 w 52"/>
                  <a:gd name="T83" fmla="*/ 19 h 70"/>
                  <a:gd name="T84" fmla="*/ 44 w 52"/>
                  <a:gd name="T85" fmla="*/ 36 h 70"/>
                  <a:gd name="T86" fmla="*/ 40 w 52"/>
                  <a:gd name="T87" fmla="*/ 16 h 70"/>
                  <a:gd name="T88" fmla="*/ 43 w 52"/>
                  <a:gd name="T89" fmla="*/ 53 h 70"/>
                  <a:gd name="T90" fmla="*/ 44 w 52"/>
                  <a:gd name="T91" fmla="*/ 36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2" h="70">
                    <a:moveTo>
                      <a:pt x="16" y="14"/>
                    </a:move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3" y="19"/>
                      <a:pt x="13" y="19"/>
                      <a:pt x="12" y="19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1" y="18"/>
                      <a:pt x="11" y="18"/>
                      <a:pt x="12" y="17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17"/>
                      <a:pt x="10" y="17"/>
                      <a:pt x="10" y="16"/>
                    </a:cubicBezTo>
                    <a:cubicBezTo>
                      <a:pt x="10" y="16"/>
                      <a:pt x="10" y="15"/>
                      <a:pt x="11" y="15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5" y="14"/>
                      <a:pt x="16" y="14"/>
                      <a:pt x="16" y="14"/>
                    </a:cubicBezTo>
                    <a:close/>
                    <a:moveTo>
                      <a:pt x="51" y="50"/>
                    </a:moveTo>
                    <a:cubicBezTo>
                      <a:pt x="46" y="54"/>
                      <a:pt x="46" y="54"/>
                      <a:pt x="46" y="54"/>
                    </a:cubicBezTo>
                    <a:cubicBezTo>
                      <a:pt x="48" y="55"/>
                      <a:pt x="49" y="56"/>
                      <a:pt x="49" y="58"/>
                    </a:cubicBezTo>
                    <a:cubicBezTo>
                      <a:pt x="49" y="59"/>
                      <a:pt x="49" y="59"/>
                      <a:pt x="49" y="60"/>
                    </a:cubicBezTo>
                    <a:cubicBezTo>
                      <a:pt x="49" y="60"/>
                      <a:pt x="49" y="60"/>
                      <a:pt x="49" y="60"/>
                    </a:cubicBezTo>
                    <a:cubicBezTo>
                      <a:pt x="50" y="60"/>
                      <a:pt x="51" y="60"/>
                      <a:pt x="51" y="61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0" y="70"/>
                      <a:pt x="49" y="70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0" y="70"/>
                      <a:pt x="0" y="69"/>
                      <a:pt x="0" y="69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0"/>
                      <a:pt x="0" y="60"/>
                      <a:pt x="1" y="6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1" y="59"/>
                      <a:pt x="1" y="59"/>
                      <a:pt x="1" y="58"/>
                    </a:cubicBezTo>
                    <a:cubicBezTo>
                      <a:pt x="1" y="57"/>
                      <a:pt x="2" y="55"/>
                      <a:pt x="3" y="54"/>
                    </a:cubicBezTo>
                    <a:cubicBezTo>
                      <a:pt x="3" y="53"/>
                      <a:pt x="2" y="49"/>
                      <a:pt x="4" y="45"/>
                    </a:cubicBezTo>
                    <a:cubicBezTo>
                      <a:pt x="5" y="43"/>
                      <a:pt x="8" y="41"/>
                      <a:pt x="11" y="39"/>
                    </a:cubicBezTo>
                    <a:cubicBezTo>
                      <a:pt x="13" y="37"/>
                      <a:pt x="16" y="35"/>
                      <a:pt x="18" y="33"/>
                    </a:cubicBezTo>
                    <a:cubicBezTo>
                      <a:pt x="19" y="31"/>
                      <a:pt x="19" y="29"/>
                      <a:pt x="19" y="27"/>
                    </a:cubicBezTo>
                    <a:cubicBezTo>
                      <a:pt x="19" y="27"/>
                      <a:pt x="19" y="27"/>
                      <a:pt x="19" y="27"/>
                    </a:cubicBezTo>
                    <a:cubicBezTo>
                      <a:pt x="18" y="27"/>
                      <a:pt x="17" y="27"/>
                      <a:pt x="16" y="27"/>
                    </a:cubicBezTo>
                    <a:cubicBezTo>
                      <a:pt x="16" y="27"/>
                      <a:pt x="15" y="28"/>
                      <a:pt x="15" y="30"/>
                    </a:cubicBezTo>
                    <a:cubicBezTo>
                      <a:pt x="14" y="31"/>
                      <a:pt x="14" y="32"/>
                      <a:pt x="13" y="32"/>
                    </a:cubicBezTo>
                    <a:cubicBezTo>
                      <a:pt x="13" y="33"/>
                      <a:pt x="12" y="34"/>
                      <a:pt x="10" y="34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9" y="34"/>
                      <a:pt x="8" y="33"/>
                      <a:pt x="7" y="32"/>
                    </a:cubicBezTo>
                    <a:cubicBezTo>
                      <a:pt x="6" y="32"/>
                      <a:pt x="6" y="32"/>
                      <a:pt x="5" y="31"/>
                    </a:cubicBezTo>
                    <a:cubicBezTo>
                      <a:pt x="4" y="31"/>
                      <a:pt x="2" y="30"/>
                      <a:pt x="2" y="28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5"/>
                      <a:pt x="2" y="23"/>
                      <a:pt x="4" y="20"/>
                    </a:cubicBezTo>
                    <a:cubicBezTo>
                      <a:pt x="7" y="17"/>
                      <a:pt x="8" y="15"/>
                      <a:pt x="8" y="14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3"/>
                      <a:pt x="9" y="12"/>
                      <a:pt x="14" y="6"/>
                    </a:cubicBezTo>
                    <a:cubicBezTo>
                      <a:pt x="14" y="6"/>
                      <a:pt x="14" y="5"/>
                      <a:pt x="13" y="5"/>
                    </a:cubicBezTo>
                    <a:cubicBezTo>
                      <a:pt x="13" y="4"/>
                      <a:pt x="12" y="2"/>
                      <a:pt x="12" y="2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8" y="1"/>
                      <a:pt x="20" y="2"/>
                    </a:cubicBezTo>
                    <a:cubicBezTo>
                      <a:pt x="21" y="2"/>
                      <a:pt x="23" y="2"/>
                      <a:pt x="24" y="2"/>
                    </a:cubicBezTo>
                    <a:cubicBezTo>
                      <a:pt x="30" y="2"/>
                      <a:pt x="37" y="4"/>
                      <a:pt x="43" y="13"/>
                    </a:cubicBezTo>
                    <a:cubicBezTo>
                      <a:pt x="48" y="22"/>
                      <a:pt x="47" y="30"/>
                      <a:pt x="47" y="36"/>
                    </a:cubicBezTo>
                    <a:cubicBezTo>
                      <a:pt x="47" y="39"/>
                      <a:pt x="46" y="41"/>
                      <a:pt x="47" y="42"/>
                    </a:cubicBezTo>
                    <a:cubicBezTo>
                      <a:pt x="48" y="45"/>
                      <a:pt x="51" y="47"/>
                      <a:pt x="51" y="47"/>
                    </a:cubicBezTo>
                    <a:cubicBezTo>
                      <a:pt x="52" y="48"/>
                      <a:pt x="52" y="48"/>
                      <a:pt x="52" y="48"/>
                    </a:cubicBezTo>
                    <a:cubicBezTo>
                      <a:pt x="52" y="49"/>
                      <a:pt x="52" y="49"/>
                      <a:pt x="51" y="50"/>
                    </a:cubicBezTo>
                    <a:close/>
                    <a:moveTo>
                      <a:pt x="2" y="62"/>
                    </a:moveTo>
                    <a:cubicBezTo>
                      <a:pt x="2" y="68"/>
                      <a:pt x="2" y="68"/>
                      <a:pt x="2" y="68"/>
                    </a:cubicBezTo>
                    <a:cubicBezTo>
                      <a:pt x="48" y="68"/>
                      <a:pt x="48" y="68"/>
                      <a:pt x="48" y="68"/>
                    </a:cubicBezTo>
                    <a:cubicBezTo>
                      <a:pt x="48" y="62"/>
                      <a:pt x="48" y="62"/>
                      <a:pt x="48" y="62"/>
                    </a:cubicBezTo>
                    <a:cubicBezTo>
                      <a:pt x="44" y="62"/>
                      <a:pt x="44" y="62"/>
                      <a:pt x="44" y="62"/>
                    </a:cubicBezTo>
                    <a:cubicBezTo>
                      <a:pt x="6" y="62"/>
                      <a:pt x="6" y="62"/>
                      <a:pt x="6" y="62"/>
                    </a:cubicBezTo>
                    <a:lnTo>
                      <a:pt x="2" y="62"/>
                    </a:lnTo>
                    <a:close/>
                    <a:moveTo>
                      <a:pt x="47" y="58"/>
                    </a:moveTo>
                    <a:cubicBezTo>
                      <a:pt x="47" y="57"/>
                      <a:pt x="46" y="56"/>
                      <a:pt x="44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4" y="56"/>
                      <a:pt x="3" y="57"/>
                      <a:pt x="3" y="58"/>
                    </a:cubicBezTo>
                    <a:cubicBezTo>
                      <a:pt x="3" y="59"/>
                      <a:pt x="4" y="60"/>
                      <a:pt x="6" y="60"/>
                    </a:cubicBezTo>
                    <a:cubicBezTo>
                      <a:pt x="44" y="60"/>
                      <a:pt x="44" y="60"/>
                      <a:pt x="44" y="60"/>
                    </a:cubicBezTo>
                    <a:cubicBezTo>
                      <a:pt x="46" y="60"/>
                      <a:pt x="47" y="59"/>
                      <a:pt x="47" y="58"/>
                    </a:cubicBezTo>
                    <a:close/>
                    <a:moveTo>
                      <a:pt x="20" y="34"/>
                    </a:moveTo>
                    <a:cubicBezTo>
                      <a:pt x="18" y="36"/>
                      <a:pt x="15" y="39"/>
                      <a:pt x="12" y="41"/>
                    </a:cubicBezTo>
                    <a:cubicBezTo>
                      <a:pt x="10" y="43"/>
                      <a:pt x="7" y="45"/>
                      <a:pt x="7" y="46"/>
                    </a:cubicBezTo>
                    <a:cubicBezTo>
                      <a:pt x="4" y="50"/>
                      <a:pt x="6" y="54"/>
                      <a:pt x="6" y="54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8" y="54"/>
                      <a:pt x="8" y="54"/>
                      <a:pt x="8" y="54"/>
                    </a:cubicBezTo>
                    <a:cubicBezTo>
                      <a:pt x="8" y="53"/>
                      <a:pt x="8" y="49"/>
                      <a:pt x="10" y="46"/>
                    </a:cubicBezTo>
                    <a:cubicBezTo>
                      <a:pt x="13" y="44"/>
                      <a:pt x="15" y="42"/>
                      <a:pt x="15" y="42"/>
                    </a:cubicBezTo>
                    <a:cubicBezTo>
                      <a:pt x="16" y="42"/>
                      <a:pt x="16" y="42"/>
                      <a:pt x="17" y="43"/>
                    </a:cubicBezTo>
                    <a:cubicBezTo>
                      <a:pt x="17" y="43"/>
                      <a:pt x="17" y="44"/>
                      <a:pt x="16" y="44"/>
                    </a:cubicBezTo>
                    <a:cubicBezTo>
                      <a:pt x="16" y="44"/>
                      <a:pt x="14" y="46"/>
                      <a:pt x="12" y="48"/>
                    </a:cubicBezTo>
                    <a:cubicBezTo>
                      <a:pt x="10" y="50"/>
                      <a:pt x="10" y="54"/>
                      <a:pt x="10" y="54"/>
                    </a:cubicBezTo>
                    <a:cubicBezTo>
                      <a:pt x="10" y="54"/>
                      <a:pt x="10" y="54"/>
                      <a:pt x="10" y="54"/>
                    </a:cubicBezTo>
                    <a:cubicBezTo>
                      <a:pt x="41" y="54"/>
                      <a:pt x="41" y="54"/>
                      <a:pt x="41" y="54"/>
                    </a:cubicBezTo>
                    <a:cubicBezTo>
                      <a:pt x="41" y="53"/>
                      <a:pt x="39" y="49"/>
                      <a:pt x="39" y="45"/>
                    </a:cubicBezTo>
                    <a:cubicBezTo>
                      <a:pt x="39" y="44"/>
                      <a:pt x="39" y="42"/>
                      <a:pt x="40" y="40"/>
                    </a:cubicBezTo>
                    <a:cubicBezTo>
                      <a:pt x="40" y="35"/>
                      <a:pt x="42" y="26"/>
                      <a:pt x="39" y="17"/>
                    </a:cubicBezTo>
                    <a:cubicBezTo>
                      <a:pt x="35" y="7"/>
                      <a:pt x="26" y="6"/>
                      <a:pt x="23" y="6"/>
                    </a:cubicBezTo>
                    <a:cubicBezTo>
                      <a:pt x="23" y="6"/>
                      <a:pt x="22" y="7"/>
                      <a:pt x="22" y="7"/>
                    </a:cubicBezTo>
                    <a:cubicBezTo>
                      <a:pt x="22" y="7"/>
                      <a:pt x="22" y="6"/>
                      <a:pt x="22" y="6"/>
                    </a:cubicBezTo>
                    <a:cubicBezTo>
                      <a:pt x="22" y="6"/>
                      <a:pt x="21" y="6"/>
                      <a:pt x="21" y="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0" y="6"/>
                      <a:pt x="20" y="5"/>
                      <a:pt x="20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5"/>
                      <a:pt x="18" y="5"/>
                      <a:pt x="18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7" y="4"/>
                      <a:pt x="17" y="3"/>
                      <a:pt x="16" y="3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8"/>
                      <a:pt x="18" y="8"/>
                      <a:pt x="18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7" y="8"/>
                      <a:pt x="16" y="7"/>
                    </a:cubicBezTo>
                    <a:cubicBezTo>
                      <a:pt x="14" y="10"/>
                      <a:pt x="11" y="13"/>
                      <a:pt x="11" y="14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0" y="15"/>
                      <a:pt x="10" y="18"/>
                      <a:pt x="6" y="22"/>
                    </a:cubicBezTo>
                    <a:cubicBezTo>
                      <a:pt x="4" y="24"/>
                      <a:pt x="4" y="26"/>
                      <a:pt x="4" y="27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4" y="28"/>
                      <a:pt x="5" y="29"/>
                      <a:pt x="6" y="29"/>
                    </a:cubicBezTo>
                    <a:cubicBezTo>
                      <a:pt x="7" y="30"/>
                      <a:pt x="8" y="30"/>
                      <a:pt x="9" y="31"/>
                    </a:cubicBezTo>
                    <a:cubicBezTo>
                      <a:pt x="9" y="31"/>
                      <a:pt x="10" y="31"/>
                      <a:pt x="10" y="31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2" y="30"/>
                      <a:pt x="12" y="30"/>
                      <a:pt x="12" y="29"/>
                    </a:cubicBezTo>
                    <a:cubicBezTo>
                      <a:pt x="13" y="27"/>
                      <a:pt x="14" y="24"/>
                      <a:pt x="16" y="25"/>
                    </a:cubicBezTo>
                    <a:cubicBezTo>
                      <a:pt x="18" y="25"/>
                      <a:pt x="19" y="25"/>
                      <a:pt x="20" y="25"/>
                    </a:cubicBezTo>
                    <a:cubicBezTo>
                      <a:pt x="20" y="25"/>
                      <a:pt x="20" y="24"/>
                      <a:pt x="20" y="24"/>
                    </a:cubicBezTo>
                    <a:cubicBezTo>
                      <a:pt x="21" y="24"/>
                      <a:pt x="21" y="24"/>
                      <a:pt x="21" y="25"/>
                    </a:cubicBezTo>
                    <a:cubicBezTo>
                      <a:pt x="26" y="24"/>
                      <a:pt x="27" y="19"/>
                      <a:pt x="28" y="19"/>
                    </a:cubicBezTo>
                    <a:cubicBezTo>
                      <a:pt x="28" y="18"/>
                      <a:pt x="28" y="18"/>
                      <a:pt x="29" y="18"/>
                    </a:cubicBezTo>
                    <a:cubicBezTo>
                      <a:pt x="29" y="18"/>
                      <a:pt x="30" y="19"/>
                      <a:pt x="30" y="19"/>
                    </a:cubicBezTo>
                    <a:cubicBezTo>
                      <a:pt x="29" y="19"/>
                      <a:pt x="28" y="25"/>
                      <a:pt x="22" y="27"/>
                    </a:cubicBezTo>
                    <a:cubicBezTo>
                      <a:pt x="22" y="29"/>
                      <a:pt x="21" y="32"/>
                      <a:pt x="20" y="34"/>
                    </a:cubicBezTo>
                    <a:close/>
                    <a:moveTo>
                      <a:pt x="44" y="36"/>
                    </a:moveTo>
                    <a:cubicBezTo>
                      <a:pt x="45" y="30"/>
                      <a:pt x="45" y="22"/>
                      <a:pt x="40" y="14"/>
                    </a:cubicBezTo>
                    <a:cubicBezTo>
                      <a:pt x="37" y="8"/>
                      <a:pt x="32" y="6"/>
                      <a:pt x="28" y="5"/>
                    </a:cubicBezTo>
                    <a:cubicBezTo>
                      <a:pt x="33" y="6"/>
                      <a:pt x="38" y="9"/>
                      <a:pt x="40" y="16"/>
                    </a:cubicBezTo>
                    <a:cubicBezTo>
                      <a:pt x="44" y="26"/>
                      <a:pt x="42" y="35"/>
                      <a:pt x="42" y="41"/>
                    </a:cubicBezTo>
                    <a:cubicBezTo>
                      <a:pt x="41" y="42"/>
                      <a:pt x="41" y="44"/>
                      <a:pt x="41" y="45"/>
                    </a:cubicBezTo>
                    <a:cubicBezTo>
                      <a:pt x="41" y="48"/>
                      <a:pt x="42" y="51"/>
                      <a:pt x="43" y="53"/>
                    </a:cubicBezTo>
                    <a:cubicBezTo>
                      <a:pt x="49" y="48"/>
                      <a:pt x="49" y="48"/>
                      <a:pt x="49" y="48"/>
                    </a:cubicBezTo>
                    <a:cubicBezTo>
                      <a:pt x="48" y="47"/>
                      <a:pt x="46" y="45"/>
                      <a:pt x="45" y="43"/>
                    </a:cubicBezTo>
                    <a:cubicBezTo>
                      <a:pt x="44" y="41"/>
                      <a:pt x="44" y="39"/>
                      <a:pt x="44" y="3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/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5" name="Freeform 18">
                <a:extLst>
                  <a:ext uri="{FF2B5EF4-FFF2-40B4-BE49-F238E27FC236}">
                    <a16:creationId xmlns:a16="http://schemas.microsoft.com/office/drawing/2014/main" id="{244A794B-634C-4D6D-9C1C-055449C336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921099" y="10063190"/>
                <a:ext cx="989435" cy="933848"/>
              </a:xfrm>
              <a:custGeom>
                <a:avLst/>
                <a:gdLst>
                  <a:gd name="T0" fmla="*/ 13 w 75"/>
                  <a:gd name="T1" fmla="*/ 41 h 71"/>
                  <a:gd name="T2" fmla="*/ 13 w 75"/>
                  <a:gd name="T3" fmla="*/ 35 h 71"/>
                  <a:gd name="T4" fmla="*/ 65 w 75"/>
                  <a:gd name="T5" fmla="*/ 12 h 71"/>
                  <a:gd name="T6" fmla="*/ 36 w 75"/>
                  <a:gd name="T7" fmla="*/ 13 h 71"/>
                  <a:gd name="T8" fmla="*/ 65 w 75"/>
                  <a:gd name="T9" fmla="*/ 14 h 71"/>
                  <a:gd name="T10" fmla="*/ 65 w 75"/>
                  <a:gd name="T11" fmla="*/ 12 h 71"/>
                  <a:gd name="T12" fmla="*/ 22 w 75"/>
                  <a:gd name="T13" fmla="*/ 38 h 71"/>
                  <a:gd name="T14" fmla="*/ 27 w 75"/>
                  <a:gd name="T15" fmla="*/ 38 h 71"/>
                  <a:gd name="T16" fmla="*/ 36 w 75"/>
                  <a:gd name="T17" fmla="*/ 35 h 71"/>
                  <a:gd name="T18" fmla="*/ 36 w 75"/>
                  <a:gd name="T19" fmla="*/ 41 h 71"/>
                  <a:gd name="T20" fmla="*/ 36 w 75"/>
                  <a:gd name="T21" fmla="*/ 35 h 71"/>
                  <a:gd name="T22" fmla="*/ 75 w 75"/>
                  <a:gd name="T23" fmla="*/ 36 h 71"/>
                  <a:gd name="T24" fmla="*/ 67 w 75"/>
                  <a:gd name="T25" fmla="*/ 42 h 71"/>
                  <a:gd name="T26" fmla="*/ 71 w 75"/>
                  <a:gd name="T27" fmla="*/ 52 h 71"/>
                  <a:gd name="T28" fmla="*/ 67 w 75"/>
                  <a:gd name="T29" fmla="*/ 53 h 71"/>
                  <a:gd name="T30" fmla="*/ 49 w 75"/>
                  <a:gd name="T31" fmla="*/ 42 h 71"/>
                  <a:gd name="T32" fmla="*/ 43 w 75"/>
                  <a:gd name="T33" fmla="*/ 59 h 71"/>
                  <a:gd name="T34" fmla="*/ 8 w 75"/>
                  <a:gd name="T35" fmla="*/ 70 h 71"/>
                  <a:gd name="T36" fmla="*/ 6 w 75"/>
                  <a:gd name="T37" fmla="*/ 70 h 71"/>
                  <a:gd name="T38" fmla="*/ 9 w 75"/>
                  <a:gd name="T39" fmla="*/ 59 h 71"/>
                  <a:gd name="T40" fmla="*/ 0 w 75"/>
                  <a:gd name="T41" fmla="*/ 53 h 71"/>
                  <a:gd name="T42" fmla="*/ 6 w 75"/>
                  <a:gd name="T43" fmla="*/ 17 h 71"/>
                  <a:gd name="T44" fmla="*/ 26 w 75"/>
                  <a:gd name="T45" fmla="*/ 6 h 71"/>
                  <a:gd name="T46" fmla="*/ 69 w 75"/>
                  <a:gd name="T47" fmla="*/ 0 h 71"/>
                  <a:gd name="T48" fmla="*/ 72 w 75"/>
                  <a:gd name="T49" fmla="*/ 36 h 71"/>
                  <a:gd name="T50" fmla="*/ 69 w 75"/>
                  <a:gd name="T51" fmla="*/ 3 h 71"/>
                  <a:gd name="T52" fmla="*/ 29 w 75"/>
                  <a:gd name="T53" fmla="*/ 6 h 71"/>
                  <a:gd name="T54" fmla="*/ 43 w 75"/>
                  <a:gd name="T55" fmla="*/ 18 h 71"/>
                  <a:gd name="T56" fmla="*/ 48 w 75"/>
                  <a:gd name="T57" fmla="*/ 21 h 71"/>
                  <a:gd name="T58" fmla="*/ 66 w 75"/>
                  <a:gd name="T59" fmla="*/ 22 h 71"/>
                  <a:gd name="T60" fmla="*/ 48 w 75"/>
                  <a:gd name="T61" fmla="*/ 23 h 71"/>
                  <a:gd name="T62" fmla="*/ 65 w 75"/>
                  <a:gd name="T63" fmla="*/ 30 h 71"/>
                  <a:gd name="T64" fmla="*/ 65 w 75"/>
                  <a:gd name="T65" fmla="*/ 32 h 71"/>
                  <a:gd name="T66" fmla="*/ 48 w 75"/>
                  <a:gd name="T67" fmla="*/ 39 h 71"/>
                  <a:gd name="T68" fmla="*/ 56 w 75"/>
                  <a:gd name="T69" fmla="*/ 39 h 71"/>
                  <a:gd name="T70" fmla="*/ 63 w 75"/>
                  <a:gd name="T71" fmla="*/ 41 h 71"/>
                  <a:gd name="T72" fmla="*/ 64 w 75"/>
                  <a:gd name="T73" fmla="*/ 39 h 71"/>
                  <a:gd name="T74" fmla="*/ 72 w 75"/>
                  <a:gd name="T75" fmla="*/ 36 h 71"/>
                  <a:gd name="T76" fmla="*/ 46 w 75"/>
                  <a:gd name="T77" fmla="*/ 23 h 71"/>
                  <a:gd name="T78" fmla="*/ 6 w 75"/>
                  <a:gd name="T79" fmla="*/ 20 h 71"/>
                  <a:gd name="T80" fmla="*/ 3 w 75"/>
                  <a:gd name="T81" fmla="*/ 53 h 71"/>
                  <a:gd name="T82" fmla="*/ 12 w 75"/>
                  <a:gd name="T83" fmla="*/ 56 h 71"/>
                  <a:gd name="T84" fmla="*/ 13 w 75"/>
                  <a:gd name="T85" fmla="*/ 57 h 71"/>
                  <a:gd name="T86" fmla="*/ 20 w 75"/>
                  <a:gd name="T87" fmla="*/ 56 h 71"/>
                  <a:gd name="T88" fmla="*/ 43 w 75"/>
                  <a:gd name="T89" fmla="*/ 5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5" h="71">
                    <a:moveTo>
                      <a:pt x="16" y="38"/>
                    </a:moveTo>
                    <a:cubicBezTo>
                      <a:pt x="16" y="40"/>
                      <a:pt x="15" y="41"/>
                      <a:pt x="13" y="41"/>
                    </a:cubicBezTo>
                    <a:cubicBezTo>
                      <a:pt x="12" y="41"/>
                      <a:pt x="10" y="40"/>
                      <a:pt x="10" y="38"/>
                    </a:cubicBezTo>
                    <a:cubicBezTo>
                      <a:pt x="10" y="37"/>
                      <a:pt x="12" y="35"/>
                      <a:pt x="13" y="35"/>
                    </a:cubicBezTo>
                    <a:cubicBezTo>
                      <a:pt x="15" y="35"/>
                      <a:pt x="16" y="37"/>
                      <a:pt x="16" y="38"/>
                    </a:cubicBezTo>
                    <a:close/>
                    <a:moveTo>
                      <a:pt x="65" y="12"/>
                    </a:moveTo>
                    <a:cubicBezTo>
                      <a:pt x="37" y="12"/>
                      <a:pt x="37" y="12"/>
                      <a:pt x="37" y="12"/>
                    </a:cubicBezTo>
                    <a:cubicBezTo>
                      <a:pt x="36" y="12"/>
                      <a:pt x="36" y="12"/>
                      <a:pt x="36" y="13"/>
                    </a:cubicBezTo>
                    <a:cubicBezTo>
                      <a:pt x="36" y="14"/>
                      <a:pt x="36" y="14"/>
                      <a:pt x="37" y="14"/>
                    </a:cubicBezTo>
                    <a:cubicBezTo>
                      <a:pt x="65" y="14"/>
                      <a:pt x="65" y="14"/>
                      <a:pt x="65" y="14"/>
                    </a:cubicBezTo>
                    <a:cubicBezTo>
                      <a:pt x="65" y="14"/>
                      <a:pt x="66" y="14"/>
                      <a:pt x="66" y="13"/>
                    </a:cubicBezTo>
                    <a:cubicBezTo>
                      <a:pt x="66" y="12"/>
                      <a:pt x="65" y="12"/>
                      <a:pt x="65" y="12"/>
                    </a:cubicBezTo>
                    <a:close/>
                    <a:moveTo>
                      <a:pt x="24" y="35"/>
                    </a:moveTo>
                    <a:cubicBezTo>
                      <a:pt x="23" y="35"/>
                      <a:pt x="22" y="37"/>
                      <a:pt x="22" y="38"/>
                    </a:cubicBezTo>
                    <a:cubicBezTo>
                      <a:pt x="22" y="40"/>
                      <a:pt x="23" y="41"/>
                      <a:pt x="24" y="41"/>
                    </a:cubicBezTo>
                    <a:cubicBezTo>
                      <a:pt x="26" y="41"/>
                      <a:pt x="27" y="40"/>
                      <a:pt x="27" y="38"/>
                    </a:cubicBezTo>
                    <a:cubicBezTo>
                      <a:pt x="27" y="37"/>
                      <a:pt x="26" y="35"/>
                      <a:pt x="24" y="35"/>
                    </a:cubicBezTo>
                    <a:close/>
                    <a:moveTo>
                      <a:pt x="36" y="35"/>
                    </a:moveTo>
                    <a:cubicBezTo>
                      <a:pt x="34" y="35"/>
                      <a:pt x="33" y="37"/>
                      <a:pt x="33" y="38"/>
                    </a:cubicBezTo>
                    <a:cubicBezTo>
                      <a:pt x="33" y="40"/>
                      <a:pt x="34" y="41"/>
                      <a:pt x="36" y="41"/>
                    </a:cubicBezTo>
                    <a:cubicBezTo>
                      <a:pt x="37" y="41"/>
                      <a:pt x="39" y="40"/>
                      <a:pt x="39" y="38"/>
                    </a:cubicBezTo>
                    <a:cubicBezTo>
                      <a:pt x="39" y="37"/>
                      <a:pt x="37" y="35"/>
                      <a:pt x="36" y="35"/>
                    </a:cubicBezTo>
                    <a:close/>
                    <a:moveTo>
                      <a:pt x="75" y="6"/>
                    </a:moveTo>
                    <a:cubicBezTo>
                      <a:pt x="75" y="36"/>
                      <a:pt x="75" y="36"/>
                      <a:pt x="75" y="36"/>
                    </a:cubicBezTo>
                    <a:cubicBezTo>
                      <a:pt x="75" y="40"/>
                      <a:pt x="73" y="42"/>
                      <a:pt x="69" y="42"/>
                    </a:cubicBezTo>
                    <a:cubicBezTo>
                      <a:pt x="67" y="42"/>
                      <a:pt x="67" y="42"/>
                      <a:pt x="67" y="42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51"/>
                      <a:pt x="71" y="52"/>
                      <a:pt x="71" y="52"/>
                    </a:cubicBezTo>
                    <a:cubicBezTo>
                      <a:pt x="71" y="53"/>
                      <a:pt x="70" y="54"/>
                      <a:pt x="69" y="54"/>
                    </a:cubicBezTo>
                    <a:cubicBezTo>
                      <a:pt x="68" y="54"/>
                      <a:pt x="68" y="54"/>
                      <a:pt x="67" y="53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49" y="42"/>
                      <a:pt x="49" y="42"/>
                      <a:pt x="49" y="42"/>
                    </a:cubicBezTo>
                    <a:cubicBezTo>
                      <a:pt x="49" y="53"/>
                      <a:pt x="49" y="53"/>
                      <a:pt x="49" y="53"/>
                    </a:cubicBezTo>
                    <a:cubicBezTo>
                      <a:pt x="49" y="56"/>
                      <a:pt x="46" y="59"/>
                      <a:pt x="43" y="59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8" y="70"/>
                      <a:pt x="7" y="71"/>
                      <a:pt x="7" y="71"/>
                    </a:cubicBezTo>
                    <a:cubicBezTo>
                      <a:pt x="7" y="71"/>
                      <a:pt x="6" y="71"/>
                      <a:pt x="6" y="70"/>
                    </a:cubicBezTo>
                    <a:cubicBezTo>
                      <a:pt x="5" y="70"/>
                      <a:pt x="5" y="69"/>
                      <a:pt x="5" y="68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3" y="59"/>
                      <a:pt x="0" y="56"/>
                      <a:pt x="0" y="5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9"/>
                      <a:pt x="3" y="17"/>
                      <a:pt x="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6" y="3"/>
                      <a:pt x="29" y="0"/>
                      <a:pt x="32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73" y="0"/>
                      <a:pt x="75" y="3"/>
                      <a:pt x="75" y="6"/>
                    </a:cubicBezTo>
                    <a:close/>
                    <a:moveTo>
                      <a:pt x="72" y="36"/>
                    </a:moveTo>
                    <a:cubicBezTo>
                      <a:pt x="72" y="6"/>
                      <a:pt x="72" y="6"/>
                      <a:pt x="72" y="6"/>
                    </a:cubicBezTo>
                    <a:cubicBezTo>
                      <a:pt x="72" y="4"/>
                      <a:pt x="71" y="3"/>
                      <a:pt x="69" y="3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1" y="3"/>
                      <a:pt x="29" y="4"/>
                      <a:pt x="29" y="6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6" y="18"/>
                      <a:pt x="48" y="20"/>
                      <a:pt x="48" y="23"/>
                    </a:cubicBezTo>
                    <a:cubicBezTo>
                      <a:pt x="48" y="22"/>
                      <a:pt x="48" y="22"/>
                      <a:pt x="48" y="21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5" y="21"/>
                      <a:pt x="66" y="22"/>
                      <a:pt x="66" y="22"/>
                    </a:cubicBezTo>
                    <a:cubicBezTo>
                      <a:pt x="66" y="23"/>
                      <a:pt x="65" y="23"/>
                      <a:pt x="65" y="23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8" y="30"/>
                      <a:pt x="48" y="30"/>
                      <a:pt x="48" y="30"/>
                    </a:cubicBezTo>
                    <a:cubicBezTo>
                      <a:pt x="65" y="30"/>
                      <a:pt x="65" y="30"/>
                      <a:pt x="65" y="30"/>
                    </a:cubicBezTo>
                    <a:cubicBezTo>
                      <a:pt x="65" y="30"/>
                      <a:pt x="66" y="31"/>
                      <a:pt x="66" y="31"/>
                    </a:cubicBezTo>
                    <a:cubicBezTo>
                      <a:pt x="66" y="32"/>
                      <a:pt x="65" y="32"/>
                      <a:pt x="65" y="32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55" y="39"/>
                      <a:pt x="55" y="39"/>
                      <a:pt x="55" y="39"/>
                    </a:cubicBezTo>
                    <a:cubicBezTo>
                      <a:pt x="55" y="39"/>
                      <a:pt x="56" y="39"/>
                      <a:pt x="56" y="39"/>
                    </a:cubicBezTo>
                    <a:cubicBezTo>
                      <a:pt x="66" y="48"/>
                      <a:pt x="66" y="48"/>
                      <a:pt x="66" y="48"/>
                    </a:cubicBezTo>
                    <a:cubicBezTo>
                      <a:pt x="63" y="41"/>
                      <a:pt x="63" y="41"/>
                      <a:pt x="63" y="41"/>
                    </a:cubicBezTo>
                    <a:cubicBezTo>
                      <a:pt x="63" y="40"/>
                      <a:pt x="63" y="40"/>
                      <a:pt x="63" y="40"/>
                    </a:cubicBezTo>
                    <a:cubicBezTo>
                      <a:pt x="63" y="39"/>
                      <a:pt x="64" y="39"/>
                      <a:pt x="64" y="39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71" y="39"/>
                      <a:pt x="72" y="38"/>
                      <a:pt x="72" y="36"/>
                    </a:cubicBezTo>
                    <a:close/>
                    <a:moveTo>
                      <a:pt x="46" y="53"/>
                    </a:move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1"/>
                      <a:pt x="45" y="20"/>
                      <a:pt x="43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4" y="20"/>
                      <a:pt x="3" y="21"/>
                      <a:pt x="3" y="23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5"/>
                      <a:pt x="4" y="56"/>
                      <a:pt x="6" y="56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13" y="57"/>
                      <a:pt x="13" y="57"/>
                      <a:pt x="13" y="57"/>
                    </a:cubicBezTo>
                    <a:cubicBezTo>
                      <a:pt x="9" y="65"/>
                      <a:pt x="9" y="65"/>
                      <a:pt x="9" y="65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43" y="56"/>
                      <a:pt x="43" y="56"/>
                      <a:pt x="43" y="56"/>
                    </a:cubicBezTo>
                    <a:cubicBezTo>
                      <a:pt x="45" y="56"/>
                      <a:pt x="46" y="55"/>
                      <a:pt x="46" y="53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B11B7B27-0007-46B3-B16D-0C0648AF6C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840789" y="7235554"/>
                <a:ext cx="813130" cy="948648"/>
              </a:xfrm>
              <a:custGeom>
                <a:avLst/>
                <a:gdLst>
                  <a:gd name="T0" fmla="*/ 18 w 58"/>
                  <a:gd name="T1" fmla="*/ 37 h 68"/>
                  <a:gd name="T2" fmla="*/ 17 w 58"/>
                  <a:gd name="T3" fmla="*/ 31 h 68"/>
                  <a:gd name="T4" fmla="*/ 40 w 58"/>
                  <a:gd name="T5" fmla="*/ 16 h 68"/>
                  <a:gd name="T6" fmla="*/ 17 w 58"/>
                  <a:gd name="T7" fmla="*/ 30 h 68"/>
                  <a:gd name="T8" fmla="*/ 44 w 58"/>
                  <a:gd name="T9" fmla="*/ 18 h 68"/>
                  <a:gd name="T10" fmla="*/ 17 w 58"/>
                  <a:gd name="T11" fmla="*/ 23 h 68"/>
                  <a:gd name="T12" fmla="*/ 30 w 58"/>
                  <a:gd name="T13" fmla="*/ 16 h 68"/>
                  <a:gd name="T14" fmla="*/ 14 w 58"/>
                  <a:gd name="T15" fmla="*/ 21 h 68"/>
                  <a:gd name="T16" fmla="*/ 34 w 58"/>
                  <a:gd name="T17" fmla="*/ 66 h 68"/>
                  <a:gd name="T18" fmla="*/ 28 w 58"/>
                  <a:gd name="T19" fmla="*/ 68 h 68"/>
                  <a:gd name="T20" fmla="*/ 20 w 58"/>
                  <a:gd name="T21" fmla="*/ 62 h 68"/>
                  <a:gd name="T22" fmla="*/ 23 w 58"/>
                  <a:gd name="T23" fmla="*/ 50 h 68"/>
                  <a:gd name="T24" fmla="*/ 17 w 58"/>
                  <a:gd name="T25" fmla="*/ 44 h 68"/>
                  <a:gd name="T26" fmla="*/ 40 w 58"/>
                  <a:gd name="T27" fmla="*/ 30 h 68"/>
                  <a:gd name="T28" fmla="*/ 25 w 58"/>
                  <a:gd name="T29" fmla="*/ 41 h 68"/>
                  <a:gd name="T30" fmla="*/ 29 w 58"/>
                  <a:gd name="T31" fmla="*/ 50 h 68"/>
                  <a:gd name="T32" fmla="*/ 40 w 58"/>
                  <a:gd name="T33" fmla="*/ 39 h 68"/>
                  <a:gd name="T34" fmla="*/ 35 w 58"/>
                  <a:gd name="T35" fmla="*/ 50 h 68"/>
                  <a:gd name="T36" fmla="*/ 34 w 58"/>
                  <a:gd name="T37" fmla="*/ 52 h 68"/>
                  <a:gd name="T38" fmla="*/ 33 w 58"/>
                  <a:gd name="T39" fmla="*/ 52 h 68"/>
                  <a:gd name="T40" fmla="*/ 28 w 58"/>
                  <a:gd name="T41" fmla="*/ 52 h 68"/>
                  <a:gd name="T42" fmla="*/ 22 w 58"/>
                  <a:gd name="T43" fmla="*/ 54 h 68"/>
                  <a:gd name="T44" fmla="*/ 25 w 58"/>
                  <a:gd name="T45" fmla="*/ 64 h 68"/>
                  <a:gd name="T46" fmla="*/ 36 w 58"/>
                  <a:gd name="T47" fmla="*/ 62 h 68"/>
                  <a:gd name="T48" fmla="*/ 39 w 58"/>
                  <a:gd name="T49" fmla="*/ 9 h 68"/>
                  <a:gd name="T50" fmla="*/ 41 w 58"/>
                  <a:gd name="T51" fmla="*/ 10 h 68"/>
                  <a:gd name="T52" fmla="*/ 42 w 58"/>
                  <a:gd name="T53" fmla="*/ 4 h 68"/>
                  <a:gd name="T54" fmla="*/ 15 w 58"/>
                  <a:gd name="T55" fmla="*/ 54 h 68"/>
                  <a:gd name="T56" fmla="*/ 19 w 58"/>
                  <a:gd name="T57" fmla="*/ 49 h 68"/>
                  <a:gd name="T58" fmla="*/ 48 w 58"/>
                  <a:gd name="T59" fmla="*/ 19 h 68"/>
                  <a:gd name="T60" fmla="*/ 54 w 58"/>
                  <a:gd name="T61" fmla="*/ 14 h 68"/>
                  <a:gd name="T62" fmla="*/ 47 w 58"/>
                  <a:gd name="T63" fmla="*/ 18 h 68"/>
                  <a:gd name="T64" fmla="*/ 4 w 58"/>
                  <a:gd name="T65" fmla="*/ 42 h 68"/>
                  <a:gd name="T66" fmla="*/ 5 w 58"/>
                  <a:gd name="T67" fmla="*/ 44 h 68"/>
                  <a:gd name="T68" fmla="*/ 9 w 58"/>
                  <a:gd name="T69" fmla="*/ 39 h 68"/>
                  <a:gd name="T70" fmla="*/ 50 w 58"/>
                  <a:gd name="T71" fmla="*/ 29 h 68"/>
                  <a:gd name="T72" fmla="*/ 58 w 58"/>
                  <a:gd name="T73" fmla="*/ 29 h 68"/>
                  <a:gd name="T74" fmla="*/ 7 w 58"/>
                  <a:gd name="T75" fmla="*/ 28 h 68"/>
                  <a:gd name="T76" fmla="*/ 1 w 58"/>
                  <a:gd name="T77" fmla="*/ 30 h 68"/>
                  <a:gd name="T78" fmla="*/ 49 w 58"/>
                  <a:gd name="T79" fmla="*/ 39 h 68"/>
                  <a:gd name="T80" fmla="*/ 53 w 58"/>
                  <a:gd name="T81" fmla="*/ 44 h 68"/>
                  <a:gd name="T82" fmla="*/ 54 w 58"/>
                  <a:gd name="T83" fmla="*/ 42 h 68"/>
                  <a:gd name="T84" fmla="*/ 4 w 58"/>
                  <a:gd name="T85" fmla="*/ 14 h 68"/>
                  <a:gd name="T86" fmla="*/ 10 w 58"/>
                  <a:gd name="T87" fmla="*/ 19 h 68"/>
                  <a:gd name="T88" fmla="*/ 5 w 58"/>
                  <a:gd name="T89" fmla="*/ 14 h 68"/>
                  <a:gd name="T90" fmla="*/ 39 w 58"/>
                  <a:gd name="T91" fmla="*/ 49 h 68"/>
                  <a:gd name="T92" fmla="*/ 44 w 58"/>
                  <a:gd name="T93" fmla="*/ 54 h 68"/>
                  <a:gd name="T94" fmla="*/ 17 w 58"/>
                  <a:gd name="T95" fmla="*/ 10 h 68"/>
                  <a:gd name="T96" fmla="*/ 19 w 58"/>
                  <a:gd name="T97" fmla="*/ 9 h 68"/>
                  <a:gd name="T98" fmla="*/ 14 w 58"/>
                  <a:gd name="T99" fmla="*/ 5 h 68"/>
                  <a:gd name="T100" fmla="*/ 30 w 58"/>
                  <a:gd name="T101" fmla="*/ 7 h 68"/>
                  <a:gd name="T102" fmla="*/ 28 w 58"/>
                  <a:gd name="T103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8" h="68">
                    <a:moveTo>
                      <a:pt x="44" y="25"/>
                    </a:moveTo>
                    <a:cubicBezTo>
                      <a:pt x="44" y="26"/>
                      <a:pt x="42" y="28"/>
                      <a:pt x="41" y="28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18" y="37"/>
                      <a:pt x="17" y="37"/>
                      <a:pt x="17" y="37"/>
                    </a:cubicBezTo>
                    <a:cubicBezTo>
                      <a:pt x="15" y="37"/>
                      <a:pt x="14" y="36"/>
                      <a:pt x="14" y="35"/>
                    </a:cubicBezTo>
                    <a:cubicBezTo>
                      <a:pt x="14" y="33"/>
                      <a:pt x="16" y="32"/>
                      <a:pt x="17" y="31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42" y="22"/>
                      <a:pt x="44" y="23"/>
                      <a:pt x="44" y="25"/>
                    </a:cubicBezTo>
                    <a:close/>
                    <a:moveTo>
                      <a:pt x="40" y="16"/>
                    </a:moveTo>
                    <a:cubicBezTo>
                      <a:pt x="17" y="24"/>
                      <a:pt x="17" y="24"/>
                      <a:pt x="17" y="24"/>
                    </a:cubicBezTo>
                    <a:cubicBezTo>
                      <a:pt x="16" y="25"/>
                      <a:pt x="14" y="26"/>
                      <a:pt x="14" y="28"/>
                    </a:cubicBezTo>
                    <a:cubicBezTo>
                      <a:pt x="14" y="29"/>
                      <a:pt x="15" y="30"/>
                      <a:pt x="17" y="30"/>
                    </a:cubicBezTo>
                    <a:cubicBezTo>
                      <a:pt x="17" y="30"/>
                      <a:pt x="18" y="30"/>
                      <a:pt x="18" y="30"/>
                    </a:cubicBezTo>
                    <a:cubicBezTo>
                      <a:pt x="41" y="21"/>
                      <a:pt x="41" y="21"/>
                      <a:pt x="41" y="21"/>
                    </a:cubicBezTo>
                    <a:cubicBezTo>
                      <a:pt x="42" y="21"/>
                      <a:pt x="44" y="19"/>
                      <a:pt x="44" y="18"/>
                    </a:cubicBezTo>
                    <a:cubicBezTo>
                      <a:pt x="44" y="16"/>
                      <a:pt x="42" y="15"/>
                      <a:pt x="40" y="16"/>
                    </a:cubicBezTo>
                    <a:close/>
                    <a:moveTo>
                      <a:pt x="14" y="21"/>
                    </a:moveTo>
                    <a:cubicBezTo>
                      <a:pt x="14" y="22"/>
                      <a:pt x="15" y="23"/>
                      <a:pt x="17" y="23"/>
                    </a:cubicBezTo>
                    <a:cubicBezTo>
                      <a:pt x="17" y="23"/>
                      <a:pt x="18" y="23"/>
                      <a:pt x="18" y="23"/>
                    </a:cubicBezTo>
                    <a:cubicBezTo>
                      <a:pt x="27" y="19"/>
                      <a:pt x="27" y="19"/>
                      <a:pt x="27" y="19"/>
                    </a:cubicBezTo>
                    <a:cubicBezTo>
                      <a:pt x="29" y="19"/>
                      <a:pt x="30" y="17"/>
                      <a:pt x="30" y="16"/>
                    </a:cubicBezTo>
                    <a:cubicBezTo>
                      <a:pt x="30" y="14"/>
                      <a:pt x="28" y="13"/>
                      <a:pt x="26" y="14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16" y="18"/>
                      <a:pt x="14" y="19"/>
                      <a:pt x="14" y="21"/>
                    </a:cubicBezTo>
                    <a:close/>
                    <a:moveTo>
                      <a:pt x="38" y="54"/>
                    </a:move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64"/>
                      <a:pt x="36" y="66"/>
                      <a:pt x="34" y="66"/>
                    </a:cubicBezTo>
                    <a:cubicBezTo>
                      <a:pt x="33" y="66"/>
                      <a:pt x="33" y="66"/>
                      <a:pt x="33" y="66"/>
                    </a:cubicBezTo>
                    <a:cubicBezTo>
                      <a:pt x="33" y="67"/>
                      <a:pt x="32" y="68"/>
                      <a:pt x="30" y="68"/>
                    </a:cubicBezTo>
                    <a:cubicBezTo>
                      <a:pt x="28" y="68"/>
                      <a:pt x="28" y="68"/>
                      <a:pt x="28" y="68"/>
                    </a:cubicBezTo>
                    <a:cubicBezTo>
                      <a:pt x="26" y="68"/>
                      <a:pt x="25" y="67"/>
                      <a:pt x="25" y="66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0" y="64"/>
                      <a:pt x="20" y="62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0" y="52"/>
                      <a:pt x="22" y="51"/>
                      <a:pt x="23" y="50"/>
                    </a:cubicBezTo>
                    <a:cubicBezTo>
                      <a:pt x="23" y="50"/>
                      <a:pt x="23" y="50"/>
                      <a:pt x="23" y="50"/>
                    </a:cubicBezTo>
                    <a:cubicBezTo>
                      <a:pt x="23" y="47"/>
                      <a:pt x="21" y="44"/>
                      <a:pt x="20" y="43"/>
                    </a:cubicBezTo>
                    <a:cubicBezTo>
                      <a:pt x="18" y="44"/>
                      <a:pt x="18" y="44"/>
                      <a:pt x="18" y="44"/>
                    </a:cubicBezTo>
                    <a:cubicBezTo>
                      <a:pt x="18" y="44"/>
                      <a:pt x="17" y="44"/>
                      <a:pt x="17" y="44"/>
                    </a:cubicBezTo>
                    <a:cubicBezTo>
                      <a:pt x="15" y="44"/>
                      <a:pt x="14" y="43"/>
                      <a:pt x="14" y="42"/>
                    </a:cubicBezTo>
                    <a:cubicBezTo>
                      <a:pt x="14" y="40"/>
                      <a:pt x="16" y="39"/>
                      <a:pt x="17" y="38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2" y="29"/>
                      <a:pt x="44" y="30"/>
                      <a:pt x="44" y="32"/>
                    </a:cubicBezTo>
                    <a:cubicBezTo>
                      <a:pt x="44" y="33"/>
                      <a:pt x="42" y="35"/>
                      <a:pt x="41" y="36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7" y="43"/>
                      <a:pt x="29" y="46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43"/>
                      <a:pt x="36" y="38"/>
                      <a:pt x="37" y="38"/>
                    </a:cubicBezTo>
                    <a:cubicBezTo>
                      <a:pt x="38" y="37"/>
                      <a:pt x="39" y="38"/>
                      <a:pt x="40" y="39"/>
                    </a:cubicBezTo>
                    <a:cubicBezTo>
                      <a:pt x="41" y="40"/>
                      <a:pt x="41" y="42"/>
                      <a:pt x="39" y="43"/>
                    </a:cubicBezTo>
                    <a:cubicBezTo>
                      <a:pt x="39" y="43"/>
                      <a:pt x="35" y="46"/>
                      <a:pt x="35" y="50"/>
                    </a:cubicBezTo>
                    <a:cubicBezTo>
                      <a:pt x="35" y="50"/>
                      <a:pt x="35" y="50"/>
                      <a:pt x="35" y="50"/>
                    </a:cubicBezTo>
                    <a:cubicBezTo>
                      <a:pt x="36" y="51"/>
                      <a:pt x="38" y="52"/>
                      <a:pt x="38" y="54"/>
                    </a:cubicBezTo>
                    <a:close/>
                    <a:moveTo>
                      <a:pt x="36" y="54"/>
                    </a:moveTo>
                    <a:cubicBezTo>
                      <a:pt x="36" y="53"/>
                      <a:pt x="35" y="52"/>
                      <a:pt x="34" y="52"/>
                    </a:cubicBezTo>
                    <a:cubicBezTo>
                      <a:pt x="34" y="52"/>
                      <a:pt x="34" y="52"/>
                      <a:pt x="34" y="52"/>
                    </a:cubicBezTo>
                    <a:cubicBezTo>
                      <a:pt x="34" y="52"/>
                      <a:pt x="34" y="52"/>
                      <a:pt x="34" y="52"/>
                    </a:cubicBezTo>
                    <a:cubicBezTo>
                      <a:pt x="34" y="52"/>
                      <a:pt x="34" y="52"/>
                      <a:pt x="33" y="52"/>
                    </a:cubicBezTo>
                    <a:cubicBezTo>
                      <a:pt x="33" y="52"/>
                      <a:pt x="33" y="52"/>
                      <a:pt x="33" y="52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24" y="52"/>
                      <a:pt x="24" y="52"/>
                      <a:pt x="24" y="52"/>
                    </a:cubicBezTo>
                    <a:cubicBezTo>
                      <a:pt x="24" y="52"/>
                      <a:pt x="24" y="52"/>
                      <a:pt x="24" y="52"/>
                    </a:cubicBezTo>
                    <a:cubicBezTo>
                      <a:pt x="23" y="52"/>
                      <a:pt x="22" y="53"/>
                      <a:pt x="22" y="54"/>
                    </a:cubicBezTo>
                    <a:cubicBezTo>
                      <a:pt x="22" y="62"/>
                      <a:pt x="22" y="62"/>
                      <a:pt x="22" y="62"/>
                    </a:cubicBezTo>
                    <a:cubicBezTo>
                      <a:pt x="22" y="63"/>
                      <a:pt x="23" y="64"/>
                      <a:pt x="24" y="64"/>
                    </a:cubicBezTo>
                    <a:cubicBezTo>
                      <a:pt x="25" y="64"/>
                      <a:pt x="25" y="64"/>
                      <a:pt x="25" y="64"/>
                    </a:cubicBezTo>
                    <a:cubicBezTo>
                      <a:pt x="33" y="64"/>
                      <a:pt x="33" y="64"/>
                      <a:pt x="33" y="64"/>
                    </a:cubicBezTo>
                    <a:cubicBezTo>
                      <a:pt x="34" y="64"/>
                      <a:pt x="34" y="64"/>
                      <a:pt x="34" y="64"/>
                    </a:cubicBezTo>
                    <a:cubicBezTo>
                      <a:pt x="35" y="64"/>
                      <a:pt x="36" y="63"/>
                      <a:pt x="36" y="62"/>
                    </a:cubicBezTo>
                    <a:lnTo>
                      <a:pt x="36" y="54"/>
                    </a:lnTo>
                    <a:close/>
                    <a:moveTo>
                      <a:pt x="42" y="4"/>
                    </a:moveTo>
                    <a:cubicBezTo>
                      <a:pt x="39" y="9"/>
                      <a:pt x="39" y="9"/>
                      <a:pt x="39" y="9"/>
                    </a:cubicBezTo>
                    <a:cubicBezTo>
                      <a:pt x="39" y="10"/>
                      <a:pt x="39" y="10"/>
                      <a:pt x="40" y="11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0" y="11"/>
                      <a:pt x="41" y="11"/>
                      <a:pt x="41" y="10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4" y="5"/>
                      <a:pt x="44" y="4"/>
                      <a:pt x="44" y="4"/>
                    </a:cubicBezTo>
                    <a:cubicBezTo>
                      <a:pt x="43" y="4"/>
                      <a:pt x="42" y="4"/>
                      <a:pt x="42" y="4"/>
                    </a:cubicBezTo>
                    <a:close/>
                    <a:moveTo>
                      <a:pt x="17" y="48"/>
                    </a:moveTo>
                    <a:cubicBezTo>
                      <a:pt x="14" y="53"/>
                      <a:pt x="14" y="53"/>
                      <a:pt x="14" y="53"/>
                    </a:cubicBezTo>
                    <a:cubicBezTo>
                      <a:pt x="14" y="53"/>
                      <a:pt x="14" y="54"/>
                      <a:pt x="15" y="54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5" y="54"/>
                      <a:pt x="16" y="54"/>
                      <a:pt x="16" y="54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19" y="48"/>
                      <a:pt x="19" y="47"/>
                      <a:pt x="18" y="47"/>
                    </a:cubicBezTo>
                    <a:cubicBezTo>
                      <a:pt x="18" y="47"/>
                      <a:pt x="17" y="47"/>
                      <a:pt x="17" y="48"/>
                    </a:cubicBezTo>
                    <a:close/>
                    <a:moveTo>
                      <a:pt x="48" y="19"/>
                    </a:moveTo>
                    <a:cubicBezTo>
                      <a:pt x="48" y="19"/>
                      <a:pt x="48" y="19"/>
                      <a:pt x="49" y="19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4" y="16"/>
                      <a:pt x="54" y="15"/>
                      <a:pt x="54" y="14"/>
                    </a:cubicBezTo>
                    <a:cubicBezTo>
                      <a:pt x="54" y="14"/>
                      <a:pt x="53" y="14"/>
                      <a:pt x="53" y="14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47" y="17"/>
                      <a:pt x="47" y="18"/>
                      <a:pt x="47" y="18"/>
                    </a:cubicBezTo>
                    <a:cubicBezTo>
                      <a:pt x="47" y="19"/>
                      <a:pt x="48" y="19"/>
                      <a:pt x="48" y="19"/>
                    </a:cubicBezTo>
                    <a:close/>
                    <a:moveTo>
                      <a:pt x="9" y="39"/>
                    </a:move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3"/>
                      <a:pt x="4" y="43"/>
                    </a:cubicBezTo>
                    <a:cubicBezTo>
                      <a:pt x="4" y="44"/>
                      <a:pt x="4" y="44"/>
                      <a:pt x="5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1" y="41"/>
                      <a:pt x="11" y="40"/>
                      <a:pt x="11" y="40"/>
                    </a:cubicBezTo>
                    <a:cubicBezTo>
                      <a:pt x="10" y="39"/>
                      <a:pt x="10" y="39"/>
                      <a:pt x="9" y="39"/>
                    </a:cubicBezTo>
                    <a:close/>
                    <a:moveTo>
                      <a:pt x="57" y="28"/>
                    </a:moveTo>
                    <a:cubicBezTo>
                      <a:pt x="51" y="28"/>
                      <a:pt x="51" y="28"/>
                      <a:pt x="51" y="28"/>
                    </a:cubicBezTo>
                    <a:cubicBezTo>
                      <a:pt x="51" y="28"/>
                      <a:pt x="50" y="28"/>
                      <a:pt x="50" y="29"/>
                    </a:cubicBezTo>
                    <a:cubicBezTo>
                      <a:pt x="50" y="30"/>
                      <a:pt x="51" y="30"/>
                      <a:pt x="51" y="30"/>
                    </a:cubicBezTo>
                    <a:cubicBezTo>
                      <a:pt x="57" y="30"/>
                      <a:pt x="57" y="30"/>
                      <a:pt x="57" y="30"/>
                    </a:cubicBezTo>
                    <a:cubicBezTo>
                      <a:pt x="58" y="30"/>
                      <a:pt x="58" y="30"/>
                      <a:pt x="58" y="29"/>
                    </a:cubicBezTo>
                    <a:cubicBezTo>
                      <a:pt x="58" y="28"/>
                      <a:pt x="58" y="28"/>
                      <a:pt x="57" y="28"/>
                    </a:cubicBezTo>
                    <a:close/>
                    <a:moveTo>
                      <a:pt x="8" y="29"/>
                    </a:moveTo>
                    <a:cubicBezTo>
                      <a:pt x="8" y="28"/>
                      <a:pt x="7" y="28"/>
                      <a:pt x="7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0" y="28"/>
                      <a:pt x="0" y="28"/>
                      <a:pt x="0" y="29"/>
                    </a:cubicBezTo>
                    <a:cubicBezTo>
                      <a:pt x="0" y="30"/>
                      <a:pt x="0" y="30"/>
                      <a:pt x="1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30"/>
                      <a:pt x="8" y="30"/>
                      <a:pt x="8" y="29"/>
                    </a:cubicBezTo>
                    <a:close/>
                    <a:moveTo>
                      <a:pt x="49" y="39"/>
                    </a:moveTo>
                    <a:cubicBezTo>
                      <a:pt x="48" y="39"/>
                      <a:pt x="48" y="39"/>
                      <a:pt x="47" y="40"/>
                    </a:cubicBezTo>
                    <a:cubicBezTo>
                      <a:pt x="47" y="40"/>
                      <a:pt x="47" y="41"/>
                      <a:pt x="48" y="41"/>
                    </a:cubicBezTo>
                    <a:cubicBezTo>
                      <a:pt x="53" y="44"/>
                      <a:pt x="53" y="44"/>
                      <a:pt x="53" y="44"/>
                    </a:cubicBezTo>
                    <a:cubicBezTo>
                      <a:pt x="53" y="44"/>
                      <a:pt x="53" y="44"/>
                      <a:pt x="53" y="44"/>
                    </a:cubicBezTo>
                    <a:cubicBezTo>
                      <a:pt x="54" y="44"/>
                      <a:pt x="54" y="44"/>
                      <a:pt x="54" y="43"/>
                    </a:cubicBezTo>
                    <a:cubicBezTo>
                      <a:pt x="54" y="43"/>
                      <a:pt x="54" y="42"/>
                      <a:pt x="54" y="42"/>
                    </a:cubicBezTo>
                    <a:lnTo>
                      <a:pt x="49" y="39"/>
                    </a:lnTo>
                    <a:close/>
                    <a:moveTo>
                      <a:pt x="5" y="14"/>
                    </a:moveTo>
                    <a:cubicBezTo>
                      <a:pt x="5" y="14"/>
                      <a:pt x="4" y="14"/>
                      <a:pt x="4" y="14"/>
                    </a:cubicBezTo>
                    <a:cubicBezTo>
                      <a:pt x="4" y="15"/>
                      <a:pt x="4" y="16"/>
                      <a:pt x="4" y="16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9"/>
                      <a:pt x="11" y="19"/>
                      <a:pt x="11" y="18"/>
                    </a:cubicBezTo>
                    <a:cubicBezTo>
                      <a:pt x="11" y="18"/>
                      <a:pt x="11" y="17"/>
                      <a:pt x="10" y="17"/>
                    </a:cubicBezTo>
                    <a:lnTo>
                      <a:pt x="5" y="14"/>
                    </a:lnTo>
                    <a:close/>
                    <a:moveTo>
                      <a:pt x="41" y="48"/>
                    </a:moveTo>
                    <a:cubicBezTo>
                      <a:pt x="41" y="47"/>
                      <a:pt x="40" y="47"/>
                      <a:pt x="40" y="47"/>
                    </a:cubicBezTo>
                    <a:cubicBezTo>
                      <a:pt x="39" y="47"/>
                      <a:pt x="39" y="48"/>
                      <a:pt x="39" y="49"/>
                    </a:cubicBezTo>
                    <a:cubicBezTo>
                      <a:pt x="42" y="54"/>
                      <a:pt x="42" y="54"/>
                      <a:pt x="42" y="54"/>
                    </a:cubicBezTo>
                    <a:cubicBezTo>
                      <a:pt x="42" y="54"/>
                      <a:pt x="43" y="54"/>
                      <a:pt x="43" y="54"/>
                    </a:cubicBezTo>
                    <a:cubicBezTo>
                      <a:pt x="43" y="54"/>
                      <a:pt x="43" y="54"/>
                      <a:pt x="44" y="54"/>
                    </a:cubicBezTo>
                    <a:cubicBezTo>
                      <a:pt x="44" y="54"/>
                      <a:pt x="44" y="53"/>
                      <a:pt x="44" y="53"/>
                    </a:cubicBezTo>
                    <a:lnTo>
                      <a:pt x="41" y="48"/>
                    </a:lnTo>
                    <a:close/>
                    <a:moveTo>
                      <a:pt x="17" y="10"/>
                    </a:moveTo>
                    <a:cubicBezTo>
                      <a:pt x="17" y="11"/>
                      <a:pt x="18" y="11"/>
                      <a:pt x="18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9" y="10"/>
                      <a:pt x="19" y="10"/>
                      <a:pt x="19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4"/>
                      <a:pt x="15" y="4"/>
                    </a:cubicBezTo>
                    <a:cubicBezTo>
                      <a:pt x="14" y="4"/>
                      <a:pt x="14" y="5"/>
                      <a:pt x="14" y="5"/>
                    </a:cubicBezTo>
                    <a:lnTo>
                      <a:pt x="17" y="10"/>
                    </a:lnTo>
                    <a:close/>
                    <a:moveTo>
                      <a:pt x="29" y="8"/>
                    </a:moveTo>
                    <a:cubicBezTo>
                      <a:pt x="30" y="8"/>
                      <a:pt x="30" y="7"/>
                      <a:pt x="30" y="7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0" y="0"/>
                      <a:pt x="30" y="0"/>
                      <a:pt x="29" y="0"/>
                    </a:cubicBezTo>
                    <a:cubicBezTo>
                      <a:pt x="28" y="0"/>
                      <a:pt x="28" y="0"/>
                      <a:pt x="28" y="1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8" y="7"/>
                      <a:pt x="28" y="8"/>
                      <a:pt x="29" y="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grpSp>
            <p:nvGrpSpPr>
              <p:cNvPr id="17" name="Group 10">
                <a:extLst>
                  <a:ext uri="{FF2B5EF4-FFF2-40B4-BE49-F238E27FC236}">
                    <a16:creationId xmlns:a16="http://schemas.microsoft.com/office/drawing/2014/main" id="{4B68868D-B095-4122-8A93-D9F5F42E573F}"/>
                  </a:ext>
                </a:extLst>
              </p:cNvPr>
              <p:cNvGrpSpPr/>
              <p:nvPr/>
            </p:nvGrpSpPr>
            <p:grpSpPr>
              <a:xfrm>
                <a:off x="7062070" y="4599062"/>
                <a:ext cx="10259860" cy="7374889"/>
                <a:chOff x="3045707" y="1437005"/>
                <a:chExt cx="6100586" cy="4385162"/>
              </a:xfrm>
              <a:solidFill>
                <a:schemeClr val="tx1">
                  <a:alpha val="50000"/>
                </a:schemeClr>
              </a:solidFill>
            </p:grpSpPr>
            <p:sp>
              <p:nvSpPr>
                <p:cNvPr id="18" name="Freeform 14">
                  <a:extLst>
                    <a:ext uri="{FF2B5EF4-FFF2-40B4-BE49-F238E27FC236}">
                      <a16:creationId xmlns:a16="http://schemas.microsoft.com/office/drawing/2014/main" id="{27942B28-D346-40B7-9365-918019E1478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83606" y="4152950"/>
                  <a:ext cx="217641" cy="253915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19" name="Freeform 18">
                  <a:extLst>
                    <a:ext uri="{FF2B5EF4-FFF2-40B4-BE49-F238E27FC236}">
                      <a16:creationId xmlns:a16="http://schemas.microsoft.com/office/drawing/2014/main" id="{F2C226AB-6D8D-4AD2-8A6B-E10D0828DD6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45217" y="3502854"/>
                  <a:ext cx="367683" cy="347026"/>
                </a:xfrm>
                <a:custGeom>
                  <a:avLst/>
                  <a:gdLst>
                    <a:gd name="T0" fmla="*/ 13 w 75"/>
                    <a:gd name="T1" fmla="*/ 41 h 71"/>
                    <a:gd name="T2" fmla="*/ 13 w 75"/>
                    <a:gd name="T3" fmla="*/ 35 h 71"/>
                    <a:gd name="T4" fmla="*/ 65 w 75"/>
                    <a:gd name="T5" fmla="*/ 12 h 71"/>
                    <a:gd name="T6" fmla="*/ 36 w 75"/>
                    <a:gd name="T7" fmla="*/ 13 h 71"/>
                    <a:gd name="T8" fmla="*/ 65 w 75"/>
                    <a:gd name="T9" fmla="*/ 14 h 71"/>
                    <a:gd name="T10" fmla="*/ 65 w 75"/>
                    <a:gd name="T11" fmla="*/ 12 h 71"/>
                    <a:gd name="T12" fmla="*/ 22 w 75"/>
                    <a:gd name="T13" fmla="*/ 38 h 71"/>
                    <a:gd name="T14" fmla="*/ 27 w 75"/>
                    <a:gd name="T15" fmla="*/ 38 h 71"/>
                    <a:gd name="T16" fmla="*/ 36 w 75"/>
                    <a:gd name="T17" fmla="*/ 35 h 71"/>
                    <a:gd name="T18" fmla="*/ 36 w 75"/>
                    <a:gd name="T19" fmla="*/ 41 h 71"/>
                    <a:gd name="T20" fmla="*/ 36 w 75"/>
                    <a:gd name="T21" fmla="*/ 35 h 71"/>
                    <a:gd name="T22" fmla="*/ 75 w 75"/>
                    <a:gd name="T23" fmla="*/ 36 h 71"/>
                    <a:gd name="T24" fmla="*/ 67 w 75"/>
                    <a:gd name="T25" fmla="*/ 42 h 71"/>
                    <a:gd name="T26" fmla="*/ 71 w 75"/>
                    <a:gd name="T27" fmla="*/ 52 h 71"/>
                    <a:gd name="T28" fmla="*/ 67 w 75"/>
                    <a:gd name="T29" fmla="*/ 53 h 71"/>
                    <a:gd name="T30" fmla="*/ 49 w 75"/>
                    <a:gd name="T31" fmla="*/ 42 h 71"/>
                    <a:gd name="T32" fmla="*/ 43 w 75"/>
                    <a:gd name="T33" fmla="*/ 59 h 71"/>
                    <a:gd name="T34" fmla="*/ 8 w 75"/>
                    <a:gd name="T35" fmla="*/ 70 h 71"/>
                    <a:gd name="T36" fmla="*/ 6 w 75"/>
                    <a:gd name="T37" fmla="*/ 70 h 71"/>
                    <a:gd name="T38" fmla="*/ 9 w 75"/>
                    <a:gd name="T39" fmla="*/ 59 h 71"/>
                    <a:gd name="T40" fmla="*/ 0 w 75"/>
                    <a:gd name="T41" fmla="*/ 53 h 71"/>
                    <a:gd name="T42" fmla="*/ 6 w 75"/>
                    <a:gd name="T43" fmla="*/ 17 h 71"/>
                    <a:gd name="T44" fmla="*/ 26 w 75"/>
                    <a:gd name="T45" fmla="*/ 6 h 71"/>
                    <a:gd name="T46" fmla="*/ 69 w 75"/>
                    <a:gd name="T47" fmla="*/ 0 h 71"/>
                    <a:gd name="T48" fmla="*/ 72 w 75"/>
                    <a:gd name="T49" fmla="*/ 36 h 71"/>
                    <a:gd name="T50" fmla="*/ 69 w 75"/>
                    <a:gd name="T51" fmla="*/ 3 h 71"/>
                    <a:gd name="T52" fmla="*/ 29 w 75"/>
                    <a:gd name="T53" fmla="*/ 6 h 71"/>
                    <a:gd name="T54" fmla="*/ 43 w 75"/>
                    <a:gd name="T55" fmla="*/ 18 h 71"/>
                    <a:gd name="T56" fmla="*/ 48 w 75"/>
                    <a:gd name="T57" fmla="*/ 21 h 71"/>
                    <a:gd name="T58" fmla="*/ 66 w 75"/>
                    <a:gd name="T59" fmla="*/ 22 h 71"/>
                    <a:gd name="T60" fmla="*/ 48 w 75"/>
                    <a:gd name="T61" fmla="*/ 23 h 71"/>
                    <a:gd name="T62" fmla="*/ 65 w 75"/>
                    <a:gd name="T63" fmla="*/ 30 h 71"/>
                    <a:gd name="T64" fmla="*/ 65 w 75"/>
                    <a:gd name="T65" fmla="*/ 32 h 71"/>
                    <a:gd name="T66" fmla="*/ 48 w 75"/>
                    <a:gd name="T67" fmla="*/ 39 h 71"/>
                    <a:gd name="T68" fmla="*/ 56 w 75"/>
                    <a:gd name="T69" fmla="*/ 39 h 71"/>
                    <a:gd name="T70" fmla="*/ 63 w 75"/>
                    <a:gd name="T71" fmla="*/ 41 h 71"/>
                    <a:gd name="T72" fmla="*/ 64 w 75"/>
                    <a:gd name="T73" fmla="*/ 39 h 71"/>
                    <a:gd name="T74" fmla="*/ 72 w 75"/>
                    <a:gd name="T75" fmla="*/ 36 h 71"/>
                    <a:gd name="T76" fmla="*/ 46 w 75"/>
                    <a:gd name="T77" fmla="*/ 23 h 71"/>
                    <a:gd name="T78" fmla="*/ 6 w 75"/>
                    <a:gd name="T79" fmla="*/ 20 h 71"/>
                    <a:gd name="T80" fmla="*/ 3 w 75"/>
                    <a:gd name="T81" fmla="*/ 53 h 71"/>
                    <a:gd name="T82" fmla="*/ 12 w 75"/>
                    <a:gd name="T83" fmla="*/ 56 h 71"/>
                    <a:gd name="T84" fmla="*/ 13 w 75"/>
                    <a:gd name="T85" fmla="*/ 57 h 71"/>
                    <a:gd name="T86" fmla="*/ 20 w 75"/>
                    <a:gd name="T87" fmla="*/ 56 h 71"/>
                    <a:gd name="T88" fmla="*/ 43 w 75"/>
                    <a:gd name="T89" fmla="*/ 5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" h="71">
                      <a:moveTo>
                        <a:pt x="16" y="38"/>
                      </a:moveTo>
                      <a:cubicBezTo>
                        <a:pt x="16" y="40"/>
                        <a:pt x="15" y="41"/>
                        <a:pt x="13" y="41"/>
                      </a:cubicBezTo>
                      <a:cubicBezTo>
                        <a:pt x="12" y="41"/>
                        <a:pt x="10" y="40"/>
                        <a:pt x="10" y="38"/>
                      </a:cubicBezTo>
                      <a:cubicBezTo>
                        <a:pt x="10" y="37"/>
                        <a:pt x="12" y="35"/>
                        <a:pt x="13" y="35"/>
                      </a:cubicBezTo>
                      <a:cubicBezTo>
                        <a:pt x="15" y="35"/>
                        <a:pt x="16" y="37"/>
                        <a:pt x="16" y="38"/>
                      </a:cubicBezTo>
                      <a:close/>
                      <a:moveTo>
                        <a:pt x="65" y="12"/>
                      </a:moveTo>
                      <a:cubicBezTo>
                        <a:pt x="37" y="12"/>
                        <a:pt x="37" y="12"/>
                        <a:pt x="37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6" y="14"/>
                        <a:pt x="36" y="14"/>
                        <a:pt x="37" y="14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4"/>
                        <a:pt x="66" y="14"/>
                        <a:pt x="66" y="13"/>
                      </a:cubicBezTo>
                      <a:cubicBezTo>
                        <a:pt x="66" y="12"/>
                        <a:pt x="65" y="12"/>
                        <a:pt x="65" y="12"/>
                      </a:cubicBezTo>
                      <a:close/>
                      <a:moveTo>
                        <a:pt x="24" y="35"/>
                      </a:moveTo>
                      <a:cubicBezTo>
                        <a:pt x="23" y="35"/>
                        <a:pt x="22" y="37"/>
                        <a:pt x="22" y="38"/>
                      </a:cubicBezTo>
                      <a:cubicBezTo>
                        <a:pt x="22" y="40"/>
                        <a:pt x="23" y="41"/>
                        <a:pt x="24" y="41"/>
                      </a:cubicBezTo>
                      <a:cubicBezTo>
                        <a:pt x="26" y="41"/>
                        <a:pt x="27" y="40"/>
                        <a:pt x="27" y="38"/>
                      </a:cubicBezTo>
                      <a:cubicBezTo>
                        <a:pt x="27" y="37"/>
                        <a:pt x="26" y="35"/>
                        <a:pt x="24" y="35"/>
                      </a:cubicBezTo>
                      <a:close/>
                      <a:moveTo>
                        <a:pt x="36" y="35"/>
                      </a:moveTo>
                      <a:cubicBezTo>
                        <a:pt x="34" y="35"/>
                        <a:pt x="33" y="37"/>
                        <a:pt x="33" y="38"/>
                      </a:cubicBezTo>
                      <a:cubicBezTo>
                        <a:pt x="33" y="40"/>
                        <a:pt x="34" y="41"/>
                        <a:pt x="36" y="41"/>
                      </a:cubicBezTo>
                      <a:cubicBezTo>
                        <a:pt x="37" y="41"/>
                        <a:pt x="39" y="40"/>
                        <a:pt x="39" y="38"/>
                      </a:cubicBezTo>
                      <a:cubicBezTo>
                        <a:pt x="39" y="37"/>
                        <a:pt x="37" y="35"/>
                        <a:pt x="36" y="35"/>
                      </a:cubicBezTo>
                      <a:close/>
                      <a:moveTo>
                        <a:pt x="75" y="6"/>
                      </a:moveTo>
                      <a:cubicBezTo>
                        <a:pt x="75" y="36"/>
                        <a:pt x="75" y="36"/>
                        <a:pt x="75" y="36"/>
                      </a:cubicBezTo>
                      <a:cubicBezTo>
                        <a:pt x="75" y="40"/>
                        <a:pt x="73" y="42"/>
                        <a:pt x="69" y="42"/>
                      </a:cubicBezTo>
                      <a:cubicBezTo>
                        <a:pt x="67" y="42"/>
                        <a:pt x="67" y="42"/>
                        <a:pt x="67" y="42"/>
                      </a:cubicBezTo>
                      <a:cubicBezTo>
                        <a:pt x="70" y="51"/>
                        <a:pt x="70" y="51"/>
                        <a:pt x="70" y="51"/>
                      </a:cubicBezTo>
                      <a:cubicBezTo>
                        <a:pt x="70" y="51"/>
                        <a:pt x="71" y="52"/>
                        <a:pt x="71" y="52"/>
                      </a:cubicBezTo>
                      <a:cubicBezTo>
                        <a:pt x="71" y="53"/>
                        <a:pt x="70" y="54"/>
                        <a:pt x="69" y="54"/>
                      </a:cubicBezTo>
                      <a:cubicBezTo>
                        <a:pt x="68" y="54"/>
                        <a:pt x="68" y="54"/>
                        <a:pt x="67" y="53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6"/>
                        <a:pt x="46" y="59"/>
                        <a:pt x="43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1"/>
                        <a:pt x="7" y="71"/>
                      </a:cubicBezTo>
                      <a:cubicBezTo>
                        <a:pt x="7" y="71"/>
                        <a:pt x="6" y="71"/>
                        <a:pt x="6" y="70"/>
                      </a:cubicBezTo>
                      <a:cubicBezTo>
                        <a:pt x="5" y="70"/>
                        <a:pt x="5" y="69"/>
                        <a:pt x="5" y="6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59"/>
                        <a:pt x="0" y="56"/>
                        <a:pt x="0" y="5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3" y="17"/>
                        <a:pt x="6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9" y="0"/>
                        <a:pt x="32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73" y="0"/>
                        <a:pt x="75" y="3"/>
                        <a:pt x="75" y="6"/>
                      </a:cubicBezTo>
                      <a:close/>
                      <a:moveTo>
                        <a:pt x="72" y="36"/>
                      </a:move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4"/>
                        <a:pt x="71" y="3"/>
                        <a:pt x="69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29" y="4"/>
                        <a:pt x="29" y="6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6" y="18"/>
                        <a:pt x="48" y="20"/>
                        <a:pt x="48" y="23"/>
                      </a:cubicBezTo>
                      <a:cubicBezTo>
                        <a:pt x="48" y="22"/>
                        <a:pt x="48" y="22"/>
                        <a:pt x="48" y="21"/>
                      </a:cubicBezTo>
                      <a:cubicBezTo>
                        <a:pt x="65" y="21"/>
                        <a:pt x="65" y="21"/>
                        <a:pt x="65" y="21"/>
                      </a:cubicBezTo>
                      <a:cubicBezTo>
                        <a:pt x="65" y="21"/>
                        <a:pt x="66" y="22"/>
                        <a:pt x="66" y="22"/>
                      </a:cubicBezTo>
                      <a:cubicBezTo>
                        <a:pt x="66" y="23"/>
                        <a:pt x="65" y="23"/>
                        <a:pt x="65" y="23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65" y="30"/>
                        <a:pt x="66" y="31"/>
                        <a:pt x="66" y="31"/>
                      </a:cubicBezTo>
                      <a:cubicBezTo>
                        <a:pt x="66" y="32"/>
                        <a:pt x="65" y="32"/>
                        <a:pt x="65" y="32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55" y="39"/>
                        <a:pt x="55" y="39"/>
                        <a:pt x="55" y="39"/>
                      </a:cubicBezTo>
                      <a:cubicBezTo>
                        <a:pt x="55" y="39"/>
                        <a:pt x="56" y="39"/>
                        <a:pt x="56" y="39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3" y="41"/>
                        <a:pt x="63" y="41"/>
                        <a:pt x="63" y="4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3" y="39"/>
                        <a:pt x="64" y="39"/>
                        <a:pt x="64" y="39"/>
                      </a:cubicBezTo>
                      <a:cubicBezTo>
                        <a:pt x="69" y="39"/>
                        <a:pt x="69" y="39"/>
                        <a:pt x="69" y="39"/>
                      </a:cubicBezTo>
                      <a:cubicBezTo>
                        <a:pt x="71" y="39"/>
                        <a:pt x="72" y="38"/>
                        <a:pt x="72" y="36"/>
                      </a:cubicBezTo>
                      <a:close/>
                      <a:moveTo>
                        <a:pt x="46" y="53"/>
                      </a:move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1"/>
                        <a:pt x="45" y="20"/>
                        <a:pt x="43" y="2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4" y="20"/>
                        <a:pt x="3" y="21"/>
                        <a:pt x="3" y="2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5"/>
                        <a:pt x="4" y="56"/>
                        <a:pt x="6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3" y="57"/>
                        <a:pt x="13" y="57"/>
                        <a:pt x="13" y="57"/>
                      </a:cubicBezTo>
                      <a:cubicBezTo>
                        <a:pt x="9" y="65"/>
                        <a:pt x="9" y="65"/>
                        <a:pt x="9" y="65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43" y="56"/>
                        <a:pt x="43" y="56"/>
                        <a:pt x="43" y="56"/>
                      </a:cubicBezTo>
                      <a:cubicBezTo>
                        <a:pt x="45" y="56"/>
                        <a:pt x="46" y="55"/>
                        <a:pt x="46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0" name="Freeform 37">
                  <a:extLst>
                    <a:ext uri="{FF2B5EF4-FFF2-40B4-BE49-F238E27FC236}">
                      <a16:creationId xmlns:a16="http://schemas.microsoft.com/office/drawing/2014/main" id="{04F0850C-B59B-4537-93D7-A61035A06A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16469" y="2448523"/>
                  <a:ext cx="191882" cy="191884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1" name="Freeform 18">
                  <a:extLst>
                    <a:ext uri="{FF2B5EF4-FFF2-40B4-BE49-F238E27FC236}">
                      <a16:creationId xmlns:a16="http://schemas.microsoft.com/office/drawing/2014/main" id="{02AD4332-8C23-43D1-A75E-2659F6BF0C5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35511" y="2392623"/>
                  <a:ext cx="286836" cy="270722"/>
                </a:xfrm>
                <a:custGeom>
                  <a:avLst/>
                  <a:gdLst>
                    <a:gd name="T0" fmla="*/ 13 w 75"/>
                    <a:gd name="T1" fmla="*/ 41 h 71"/>
                    <a:gd name="T2" fmla="*/ 13 w 75"/>
                    <a:gd name="T3" fmla="*/ 35 h 71"/>
                    <a:gd name="T4" fmla="*/ 65 w 75"/>
                    <a:gd name="T5" fmla="*/ 12 h 71"/>
                    <a:gd name="T6" fmla="*/ 36 w 75"/>
                    <a:gd name="T7" fmla="*/ 13 h 71"/>
                    <a:gd name="T8" fmla="*/ 65 w 75"/>
                    <a:gd name="T9" fmla="*/ 14 h 71"/>
                    <a:gd name="T10" fmla="*/ 65 w 75"/>
                    <a:gd name="T11" fmla="*/ 12 h 71"/>
                    <a:gd name="T12" fmla="*/ 22 w 75"/>
                    <a:gd name="T13" fmla="*/ 38 h 71"/>
                    <a:gd name="T14" fmla="*/ 27 w 75"/>
                    <a:gd name="T15" fmla="*/ 38 h 71"/>
                    <a:gd name="T16" fmla="*/ 36 w 75"/>
                    <a:gd name="T17" fmla="*/ 35 h 71"/>
                    <a:gd name="T18" fmla="*/ 36 w 75"/>
                    <a:gd name="T19" fmla="*/ 41 h 71"/>
                    <a:gd name="T20" fmla="*/ 36 w 75"/>
                    <a:gd name="T21" fmla="*/ 35 h 71"/>
                    <a:gd name="T22" fmla="*/ 75 w 75"/>
                    <a:gd name="T23" fmla="*/ 36 h 71"/>
                    <a:gd name="T24" fmla="*/ 67 w 75"/>
                    <a:gd name="T25" fmla="*/ 42 h 71"/>
                    <a:gd name="T26" fmla="*/ 71 w 75"/>
                    <a:gd name="T27" fmla="*/ 52 h 71"/>
                    <a:gd name="T28" fmla="*/ 67 w 75"/>
                    <a:gd name="T29" fmla="*/ 53 h 71"/>
                    <a:gd name="T30" fmla="*/ 49 w 75"/>
                    <a:gd name="T31" fmla="*/ 42 h 71"/>
                    <a:gd name="T32" fmla="*/ 43 w 75"/>
                    <a:gd name="T33" fmla="*/ 59 h 71"/>
                    <a:gd name="T34" fmla="*/ 8 w 75"/>
                    <a:gd name="T35" fmla="*/ 70 h 71"/>
                    <a:gd name="T36" fmla="*/ 6 w 75"/>
                    <a:gd name="T37" fmla="*/ 70 h 71"/>
                    <a:gd name="T38" fmla="*/ 9 w 75"/>
                    <a:gd name="T39" fmla="*/ 59 h 71"/>
                    <a:gd name="T40" fmla="*/ 0 w 75"/>
                    <a:gd name="T41" fmla="*/ 53 h 71"/>
                    <a:gd name="T42" fmla="*/ 6 w 75"/>
                    <a:gd name="T43" fmla="*/ 17 h 71"/>
                    <a:gd name="T44" fmla="*/ 26 w 75"/>
                    <a:gd name="T45" fmla="*/ 6 h 71"/>
                    <a:gd name="T46" fmla="*/ 69 w 75"/>
                    <a:gd name="T47" fmla="*/ 0 h 71"/>
                    <a:gd name="T48" fmla="*/ 72 w 75"/>
                    <a:gd name="T49" fmla="*/ 36 h 71"/>
                    <a:gd name="T50" fmla="*/ 69 w 75"/>
                    <a:gd name="T51" fmla="*/ 3 h 71"/>
                    <a:gd name="T52" fmla="*/ 29 w 75"/>
                    <a:gd name="T53" fmla="*/ 6 h 71"/>
                    <a:gd name="T54" fmla="*/ 43 w 75"/>
                    <a:gd name="T55" fmla="*/ 18 h 71"/>
                    <a:gd name="T56" fmla="*/ 48 w 75"/>
                    <a:gd name="T57" fmla="*/ 21 h 71"/>
                    <a:gd name="T58" fmla="*/ 66 w 75"/>
                    <a:gd name="T59" fmla="*/ 22 h 71"/>
                    <a:gd name="T60" fmla="*/ 48 w 75"/>
                    <a:gd name="T61" fmla="*/ 23 h 71"/>
                    <a:gd name="T62" fmla="*/ 65 w 75"/>
                    <a:gd name="T63" fmla="*/ 30 h 71"/>
                    <a:gd name="T64" fmla="*/ 65 w 75"/>
                    <a:gd name="T65" fmla="*/ 32 h 71"/>
                    <a:gd name="T66" fmla="*/ 48 w 75"/>
                    <a:gd name="T67" fmla="*/ 39 h 71"/>
                    <a:gd name="T68" fmla="*/ 56 w 75"/>
                    <a:gd name="T69" fmla="*/ 39 h 71"/>
                    <a:gd name="T70" fmla="*/ 63 w 75"/>
                    <a:gd name="T71" fmla="*/ 41 h 71"/>
                    <a:gd name="T72" fmla="*/ 64 w 75"/>
                    <a:gd name="T73" fmla="*/ 39 h 71"/>
                    <a:gd name="T74" fmla="*/ 72 w 75"/>
                    <a:gd name="T75" fmla="*/ 36 h 71"/>
                    <a:gd name="T76" fmla="*/ 46 w 75"/>
                    <a:gd name="T77" fmla="*/ 23 h 71"/>
                    <a:gd name="T78" fmla="*/ 6 w 75"/>
                    <a:gd name="T79" fmla="*/ 20 h 71"/>
                    <a:gd name="T80" fmla="*/ 3 w 75"/>
                    <a:gd name="T81" fmla="*/ 53 h 71"/>
                    <a:gd name="T82" fmla="*/ 12 w 75"/>
                    <a:gd name="T83" fmla="*/ 56 h 71"/>
                    <a:gd name="T84" fmla="*/ 13 w 75"/>
                    <a:gd name="T85" fmla="*/ 57 h 71"/>
                    <a:gd name="T86" fmla="*/ 20 w 75"/>
                    <a:gd name="T87" fmla="*/ 56 h 71"/>
                    <a:gd name="T88" fmla="*/ 43 w 75"/>
                    <a:gd name="T89" fmla="*/ 5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" h="71">
                      <a:moveTo>
                        <a:pt x="16" y="38"/>
                      </a:moveTo>
                      <a:cubicBezTo>
                        <a:pt x="16" y="40"/>
                        <a:pt x="15" y="41"/>
                        <a:pt x="13" y="41"/>
                      </a:cubicBezTo>
                      <a:cubicBezTo>
                        <a:pt x="12" y="41"/>
                        <a:pt x="10" y="40"/>
                        <a:pt x="10" y="38"/>
                      </a:cubicBezTo>
                      <a:cubicBezTo>
                        <a:pt x="10" y="37"/>
                        <a:pt x="12" y="35"/>
                        <a:pt x="13" y="35"/>
                      </a:cubicBezTo>
                      <a:cubicBezTo>
                        <a:pt x="15" y="35"/>
                        <a:pt x="16" y="37"/>
                        <a:pt x="16" y="38"/>
                      </a:cubicBezTo>
                      <a:close/>
                      <a:moveTo>
                        <a:pt x="65" y="12"/>
                      </a:moveTo>
                      <a:cubicBezTo>
                        <a:pt x="37" y="12"/>
                        <a:pt x="37" y="12"/>
                        <a:pt x="37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6" y="14"/>
                        <a:pt x="36" y="14"/>
                        <a:pt x="37" y="14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4"/>
                        <a:pt x="66" y="14"/>
                        <a:pt x="66" y="13"/>
                      </a:cubicBezTo>
                      <a:cubicBezTo>
                        <a:pt x="66" y="12"/>
                        <a:pt x="65" y="12"/>
                        <a:pt x="65" y="12"/>
                      </a:cubicBezTo>
                      <a:close/>
                      <a:moveTo>
                        <a:pt x="24" y="35"/>
                      </a:moveTo>
                      <a:cubicBezTo>
                        <a:pt x="23" y="35"/>
                        <a:pt x="22" y="37"/>
                        <a:pt x="22" y="38"/>
                      </a:cubicBezTo>
                      <a:cubicBezTo>
                        <a:pt x="22" y="40"/>
                        <a:pt x="23" y="41"/>
                        <a:pt x="24" y="41"/>
                      </a:cubicBezTo>
                      <a:cubicBezTo>
                        <a:pt x="26" y="41"/>
                        <a:pt x="27" y="40"/>
                        <a:pt x="27" y="38"/>
                      </a:cubicBezTo>
                      <a:cubicBezTo>
                        <a:pt x="27" y="37"/>
                        <a:pt x="26" y="35"/>
                        <a:pt x="24" y="35"/>
                      </a:cubicBezTo>
                      <a:close/>
                      <a:moveTo>
                        <a:pt x="36" y="35"/>
                      </a:moveTo>
                      <a:cubicBezTo>
                        <a:pt x="34" y="35"/>
                        <a:pt x="33" y="37"/>
                        <a:pt x="33" y="38"/>
                      </a:cubicBezTo>
                      <a:cubicBezTo>
                        <a:pt x="33" y="40"/>
                        <a:pt x="34" y="41"/>
                        <a:pt x="36" y="41"/>
                      </a:cubicBezTo>
                      <a:cubicBezTo>
                        <a:pt x="37" y="41"/>
                        <a:pt x="39" y="40"/>
                        <a:pt x="39" y="38"/>
                      </a:cubicBezTo>
                      <a:cubicBezTo>
                        <a:pt x="39" y="37"/>
                        <a:pt x="37" y="35"/>
                        <a:pt x="36" y="35"/>
                      </a:cubicBezTo>
                      <a:close/>
                      <a:moveTo>
                        <a:pt x="75" y="6"/>
                      </a:moveTo>
                      <a:cubicBezTo>
                        <a:pt x="75" y="36"/>
                        <a:pt x="75" y="36"/>
                        <a:pt x="75" y="36"/>
                      </a:cubicBezTo>
                      <a:cubicBezTo>
                        <a:pt x="75" y="40"/>
                        <a:pt x="73" y="42"/>
                        <a:pt x="69" y="42"/>
                      </a:cubicBezTo>
                      <a:cubicBezTo>
                        <a:pt x="67" y="42"/>
                        <a:pt x="67" y="42"/>
                        <a:pt x="67" y="42"/>
                      </a:cubicBezTo>
                      <a:cubicBezTo>
                        <a:pt x="70" y="51"/>
                        <a:pt x="70" y="51"/>
                        <a:pt x="70" y="51"/>
                      </a:cubicBezTo>
                      <a:cubicBezTo>
                        <a:pt x="70" y="51"/>
                        <a:pt x="71" y="52"/>
                        <a:pt x="71" y="52"/>
                      </a:cubicBezTo>
                      <a:cubicBezTo>
                        <a:pt x="71" y="53"/>
                        <a:pt x="70" y="54"/>
                        <a:pt x="69" y="54"/>
                      </a:cubicBezTo>
                      <a:cubicBezTo>
                        <a:pt x="68" y="54"/>
                        <a:pt x="68" y="54"/>
                        <a:pt x="67" y="53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6"/>
                        <a:pt x="46" y="59"/>
                        <a:pt x="43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1"/>
                        <a:pt x="7" y="71"/>
                      </a:cubicBezTo>
                      <a:cubicBezTo>
                        <a:pt x="7" y="71"/>
                        <a:pt x="6" y="71"/>
                        <a:pt x="6" y="70"/>
                      </a:cubicBezTo>
                      <a:cubicBezTo>
                        <a:pt x="5" y="70"/>
                        <a:pt x="5" y="69"/>
                        <a:pt x="5" y="6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59"/>
                        <a:pt x="0" y="56"/>
                        <a:pt x="0" y="5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3" y="17"/>
                        <a:pt x="6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9" y="0"/>
                        <a:pt x="32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73" y="0"/>
                        <a:pt x="75" y="3"/>
                        <a:pt x="75" y="6"/>
                      </a:cubicBezTo>
                      <a:close/>
                      <a:moveTo>
                        <a:pt x="72" y="36"/>
                      </a:move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4"/>
                        <a:pt x="71" y="3"/>
                        <a:pt x="69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29" y="4"/>
                        <a:pt x="29" y="6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6" y="18"/>
                        <a:pt x="48" y="20"/>
                        <a:pt x="48" y="23"/>
                      </a:cubicBezTo>
                      <a:cubicBezTo>
                        <a:pt x="48" y="22"/>
                        <a:pt x="48" y="22"/>
                        <a:pt x="48" y="21"/>
                      </a:cubicBezTo>
                      <a:cubicBezTo>
                        <a:pt x="65" y="21"/>
                        <a:pt x="65" y="21"/>
                        <a:pt x="65" y="21"/>
                      </a:cubicBezTo>
                      <a:cubicBezTo>
                        <a:pt x="65" y="21"/>
                        <a:pt x="66" y="22"/>
                        <a:pt x="66" y="22"/>
                      </a:cubicBezTo>
                      <a:cubicBezTo>
                        <a:pt x="66" y="23"/>
                        <a:pt x="65" y="23"/>
                        <a:pt x="65" y="23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65" y="30"/>
                        <a:pt x="66" y="31"/>
                        <a:pt x="66" y="31"/>
                      </a:cubicBezTo>
                      <a:cubicBezTo>
                        <a:pt x="66" y="32"/>
                        <a:pt x="65" y="32"/>
                        <a:pt x="65" y="32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55" y="39"/>
                        <a:pt x="55" y="39"/>
                        <a:pt x="55" y="39"/>
                      </a:cubicBezTo>
                      <a:cubicBezTo>
                        <a:pt x="55" y="39"/>
                        <a:pt x="56" y="39"/>
                        <a:pt x="56" y="39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3" y="41"/>
                        <a:pt x="63" y="41"/>
                        <a:pt x="63" y="4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3" y="39"/>
                        <a:pt x="64" y="39"/>
                        <a:pt x="64" y="39"/>
                      </a:cubicBezTo>
                      <a:cubicBezTo>
                        <a:pt x="69" y="39"/>
                        <a:pt x="69" y="39"/>
                        <a:pt x="69" y="39"/>
                      </a:cubicBezTo>
                      <a:cubicBezTo>
                        <a:pt x="71" y="39"/>
                        <a:pt x="72" y="38"/>
                        <a:pt x="72" y="36"/>
                      </a:cubicBezTo>
                      <a:close/>
                      <a:moveTo>
                        <a:pt x="46" y="53"/>
                      </a:move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1"/>
                        <a:pt x="45" y="20"/>
                        <a:pt x="43" y="2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4" y="20"/>
                        <a:pt x="3" y="21"/>
                        <a:pt x="3" y="2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5"/>
                        <a:pt x="4" y="56"/>
                        <a:pt x="6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3" y="57"/>
                        <a:pt x="13" y="57"/>
                        <a:pt x="13" y="57"/>
                      </a:cubicBezTo>
                      <a:cubicBezTo>
                        <a:pt x="9" y="65"/>
                        <a:pt x="9" y="65"/>
                        <a:pt x="9" y="65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43" y="56"/>
                        <a:pt x="43" y="56"/>
                        <a:pt x="43" y="56"/>
                      </a:cubicBezTo>
                      <a:cubicBezTo>
                        <a:pt x="45" y="56"/>
                        <a:pt x="46" y="55"/>
                        <a:pt x="46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2" name="Freeform 10">
                  <a:extLst>
                    <a:ext uri="{FF2B5EF4-FFF2-40B4-BE49-F238E27FC236}">
                      <a16:creationId xmlns:a16="http://schemas.microsoft.com/office/drawing/2014/main" id="{E02EB2B9-E604-4AB2-8D5B-D80D15FC7FE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43387" y="2708024"/>
                  <a:ext cx="310690" cy="310690"/>
                </a:xfrm>
                <a:custGeom>
                  <a:avLst/>
                  <a:gdLst>
                    <a:gd name="T0" fmla="*/ 0 w 66"/>
                    <a:gd name="T1" fmla="*/ 33 h 66"/>
                    <a:gd name="T2" fmla="*/ 66 w 66"/>
                    <a:gd name="T3" fmla="*/ 33 h 66"/>
                    <a:gd name="T4" fmla="*/ 50 w 66"/>
                    <a:gd name="T5" fmla="*/ 32 h 66"/>
                    <a:gd name="T6" fmla="*/ 63 w 66"/>
                    <a:gd name="T7" fmla="*/ 32 h 66"/>
                    <a:gd name="T8" fmla="*/ 48 w 66"/>
                    <a:gd name="T9" fmla="*/ 32 h 66"/>
                    <a:gd name="T10" fmla="*/ 34 w 66"/>
                    <a:gd name="T11" fmla="*/ 18 h 66"/>
                    <a:gd name="T12" fmla="*/ 48 w 66"/>
                    <a:gd name="T13" fmla="*/ 32 h 66"/>
                    <a:gd name="T14" fmla="*/ 34 w 66"/>
                    <a:gd name="T15" fmla="*/ 3 h 66"/>
                    <a:gd name="T16" fmla="*/ 34 w 66"/>
                    <a:gd name="T17" fmla="*/ 16 h 66"/>
                    <a:gd name="T18" fmla="*/ 20 w 66"/>
                    <a:gd name="T19" fmla="*/ 18 h 66"/>
                    <a:gd name="T20" fmla="*/ 32 w 66"/>
                    <a:gd name="T21" fmla="*/ 16 h 66"/>
                    <a:gd name="T22" fmla="*/ 32 w 66"/>
                    <a:gd name="T23" fmla="*/ 32 h 66"/>
                    <a:gd name="T24" fmla="*/ 19 w 66"/>
                    <a:gd name="T25" fmla="*/ 20 h 66"/>
                    <a:gd name="T26" fmla="*/ 16 w 66"/>
                    <a:gd name="T27" fmla="*/ 32 h 66"/>
                    <a:gd name="T28" fmla="*/ 17 w 66"/>
                    <a:gd name="T29" fmla="*/ 21 h 66"/>
                    <a:gd name="T30" fmla="*/ 16 w 66"/>
                    <a:gd name="T31" fmla="*/ 34 h 66"/>
                    <a:gd name="T32" fmla="*/ 3 w 66"/>
                    <a:gd name="T33" fmla="*/ 34 h 66"/>
                    <a:gd name="T34" fmla="*/ 18 w 66"/>
                    <a:gd name="T35" fmla="*/ 34 h 66"/>
                    <a:gd name="T36" fmla="*/ 32 w 66"/>
                    <a:gd name="T37" fmla="*/ 48 h 66"/>
                    <a:gd name="T38" fmla="*/ 18 w 66"/>
                    <a:gd name="T39" fmla="*/ 34 h 66"/>
                    <a:gd name="T40" fmla="*/ 32 w 66"/>
                    <a:gd name="T41" fmla="*/ 63 h 66"/>
                    <a:gd name="T42" fmla="*/ 32 w 66"/>
                    <a:gd name="T43" fmla="*/ 50 h 66"/>
                    <a:gd name="T44" fmla="*/ 46 w 66"/>
                    <a:gd name="T45" fmla="*/ 49 h 66"/>
                    <a:gd name="T46" fmla="*/ 34 w 66"/>
                    <a:gd name="T47" fmla="*/ 50 h 66"/>
                    <a:gd name="T48" fmla="*/ 34 w 66"/>
                    <a:gd name="T49" fmla="*/ 34 h 66"/>
                    <a:gd name="T50" fmla="*/ 46 w 66"/>
                    <a:gd name="T51" fmla="*/ 47 h 66"/>
                    <a:gd name="T52" fmla="*/ 50 w 66"/>
                    <a:gd name="T53" fmla="*/ 34 h 66"/>
                    <a:gd name="T54" fmla="*/ 48 w 66"/>
                    <a:gd name="T55" fmla="*/ 46 h 66"/>
                    <a:gd name="T56" fmla="*/ 48 w 66"/>
                    <a:gd name="T57" fmla="*/ 18 h 66"/>
                    <a:gd name="T58" fmla="*/ 62 w 66"/>
                    <a:gd name="T59" fmla="*/ 26 h 66"/>
                    <a:gd name="T60" fmla="*/ 18 w 66"/>
                    <a:gd name="T61" fmla="*/ 18 h 66"/>
                    <a:gd name="T62" fmla="*/ 26 w 66"/>
                    <a:gd name="T63" fmla="*/ 4 h 66"/>
                    <a:gd name="T64" fmla="*/ 18 w 66"/>
                    <a:gd name="T65" fmla="*/ 48 h 66"/>
                    <a:gd name="T66" fmla="*/ 4 w 66"/>
                    <a:gd name="T67" fmla="*/ 40 h 66"/>
                    <a:gd name="T68" fmla="*/ 48 w 66"/>
                    <a:gd name="T69" fmla="*/ 48 h 66"/>
                    <a:gd name="T70" fmla="*/ 40 w 66"/>
                    <a:gd name="T71" fmla="*/ 62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66" h="66">
                      <a:moveTo>
                        <a:pt x="33" y="0"/>
                      </a:moveTo>
                      <a:cubicBezTo>
                        <a:pt x="15" y="0"/>
                        <a:pt x="0" y="15"/>
                        <a:pt x="0" y="33"/>
                      </a:cubicBezTo>
                      <a:cubicBezTo>
                        <a:pt x="0" y="51"/>
                        <a:pt x="15" y="66"/>
                        <a:pt x="33" y="66"/>
                      </a:cubicBezTo>
                      <a:cubicBezTo>
                        <a:pt x="51" y="66"/>
                        <a:pt x="66" y="51"/>
                        <a:pt x="66" y="33"/>
                      </a:cubicBezTo>
                      <a:cubicBezTo>
                        <a:pt x="66" y="15"/>
                        <a:pt x="51" y="0"/>
                        <a:pt x="33" y="0"/>
                      </a:cubicBezTo>
                      <a:close/>
                      <a:moveTo>
                        <a:pt x="50" y="32"/>
                      </a:moveTo>
                      <a:cubicBezTo>
                        <a:pt x="50" y="28"/>
                        <a:pt x="49" y="24"/>
                        <a:pt x="48" y="21"/>
                      </a:cubicBezTo>
                      <a:cubicBezTo>
                        <a:pt x="56" y="23"/>
                        <a:pt x="62" y="27"/>
                        <a:pt x="63" y="32"/>
                      </a:cubicBezTo>
                      <a:lnTo>
                        <a:pt x="50" y="32"/>
                      </a:lnTo>
                      <a:close/>
                      <a:moveTo>
                        <a:pt x="48" y="32"/>
                      </a:move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38" y="18"/>
                        <a:pt x="42" y="19"/>
                        <a:pt x="46" y="20"/>
                      </a:cubicBezTo>
                      <a:cubicBezTo>
                        <a:pt x="47" y="24"/>
                        <a:pt x="48" y="28"/>
                        <a:pt x="48" y="32"/>
                      </a:cubicBezTo>
                      <a:close/>
                      <a:moveTo>
                        <a:pt x="34" y="16"/>
                      </a:moveTo>
                      <a:cubicBezTo>
                        <a:pt x="34" y="3"/>
                        <a:pt x="34" y="3"/>
                        <a:pt x="34" y="3"/>
                      </a:cubicBezTo>
                      <a:cubicBezTo>
                        <a:pt x="39" y="4"/>
                        <a:pt x="43" y="10"/>
                        <a:pt x="46" y="18"/>
                      </a:cubicBezTo>
                      <a:cubicBezTo>
                        <a:pt x="42" y="17"/>
                        <a:pt x="38" y="16"/>
                        <a:pt x="34" y="16"/>
                      </a:cubicBezTo>
                      <a:close/>
                      <a:moveTo>
                        <a:pt x="32" y="16"/>
                      </a:moveTo>
                      <a:cubicBezTo>
                        <a:pt x="28" y="16"/>
                        <a:pt x="24" y="17"/>
                        <a:pt x="20" y="18"/>
                      </a:cubicBezTo>
                      <a:cubicBezTo>
                        <a:pt x="22" y="10"/>
                        <a:pt x="27" y="4"/>
                        <a:pt x="32" y="3"/>
                      </a:cubicBezTo>
                      <a:lnTo>
                        <a:pt x="32" y="16"/>
                      </a:lnTo>
                      <a:close/>
                      <a:moveTo>
                        <a:pt x="32" y="18"/>
                      </a:moveTo>
                      <a:cubicBezTo>
                        <a:pt x="32" y="32"/>
                        <a:pt x="32" y="32"/>
                        <a:pt x="32" y="32"/>
                      </a:cubicBez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8" y="28"/>
                        <a:pt x="18" y="24"/>
                        <a:pt x="19" y="20"/>
                      </a:cubicBezTo>
                      <a:cubicBezTo>
                        <a:pt x="23" y="19"/>
                        <a:pt x="27" y="18"/>
                        <a:pt x="32" y="18"/>
                      </a:cubicBezTo>
                      <a:close/>
                      <a:moveTo>
                        <a:pt x="16" y="32"/>
                      </a:move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4" y="27"/>
                        <a:pt x="9" y="23"/>
                        <a:pt x="17" y="21"/>
                      </a:cubicBezTo>
                      <a:cubicBezTo>
                        <a:pt x="16" y="24"/>
                        <a:pt x="16" y="28"/>
                        <a:pt x="16" y="32"/>
                      </a:cubicBezTo>
                      <a:close/>
                      <a:moveTo>
                        <a:pt x="16" y="34"/>
                      </a:moveTo>
                      <a:cubicBezTo>
                        <a:pt x="16" y="38"/>
                        <a:pt x="16" y="42"/>
                        <a:pt x="17" y="46"/>
                      </a:cubicBezTo>
                      <a:cubicBezTo>
                        <a:pt x="9" y="44"/>
                        <a:pt x="4" y="39"/>
                        <a:pt x="3" y="34"/>
                      </a:cubicBezTo>
                      <a:lnTo>
                        <a:pt x="16" y="34"/>
                      </a:lnTo>
                      <a:close/>
                      <a:moveTo>
                        <a:pt x="18" y="34"/>
                      </a:moveTo>
                      <a:cubicBezTo>
                        <a:pt x="32" y="34"/>
                        <a:pt x="32" y="34"/>
                        <a:pt x="32" y="34"/>
                      </a:cubicBezTo>
                      <a:cubicBezTo>
                        <a:pt x="32" y="48"/>
                        <a:pt x="32" y="48"/>
                        <a:pt x="32" y="48"/>
                      </a:cubicBezTo>
                      <a:cubicBezTo>
                        <a:pt x="27" y="48"/>
                        <a:pt x="23" y="48"/>
                        <a:pt x="19" y="47"/>
                      </a:cubicBezTo>
                      <a:cubicBezTo>
                        <a:pt x="18" y="43"/>
                        <a:pt x="18" y="39"/>
                        <a:pt x="18" y="34"/>
                      </a:cubicBezTo>
                      <a:close/>
                      <a:moveTo>
                        <a:pt x="32" y="50"/>
                      </a:moveTo>
                      <a:cubicBezTo>
                        <a:pt x="32" y="63"/>
                        <a:pt x="32" y="63"/>
                        <a:pt x="32" y="63"/>
                      </a:cubicBezTo>
                      <a:cubicBezTo>
                        <a:pt x="27" y="62"/>
                        <a:pt x="22" y="57"/>
                        <a:pt x="20" y="49"/>
                      </a:cubicBezTo>
                      <a:cubicBezTo>
                        <a:pt x="24" y="50"/>
                        <a:pt x="28" y="50"/>
                        <a:pt x="32" y="50"/>
                      </a:cubicBezTo>
                      <a:close/>
                      <a:moveTo>
                        <a:pt x="34" y="50"/>
                      </a:moveTo>
                      <a:cubicBezTo>
                        <a:pt x="38" y="50"/>
                        <a:pt x="42" y="50"/>
                        <a:pt x="46" y="49"/>
                      </a:cubicBezTo>
                      <a:cubicBezTo>
                        <a:pt x="43" y="57"/>
                        <a:pt x="39" y="62"/>
                        <a:pt x="34" y="63"/>
                      </a:cubicBezTo>
                      <a:lnTo>
                        <a:pt x="34" y="50"/>
                      </a:lnTo>
                      <a:close/>
                      <a:moveTo>
                        <a:pt x="34" y="48"/>
                      </a:moveTo>
                      <a:cubicBezTo>
                        <a:pt x="34" y="34"/>
                        <a:pt x="34" y="34"/>
                        <a:pt x="34" y="34"/>
                      </a:cubicBezTo>
                      <a:cubicBezTo>
                        <a:pt x="48" y="34"/>
                        <a:pt x="48" y="34"/>
                        <a:pt x="48" y="34"/>
                      </a:cubicBezTo>
                      <a:cubicBezTo>
                        <a:pt x="48" y="39"/>
                        <a:pt x="47" y="43"/>
                        <a:pt x="46" y="47"/>
                      </a:cubicBezTo>
                      <a:cubicBezTo>
                        <a:pt x="42" y="48"/>
                        <a:pt x="38" y="48"/>
                        <a:pt x="34" y="48"/>
                      </a:cubicBezTo>
                      <a:close/>
                      <a:moveTo>
                        <a:pt x="50" y="34"/>
                      </a:moveTo>
                      <a:cubicBezTo>
                        <a:pt x="63" y="34"/>
                        <a:pt x="63" y="34"/>
                        <a:pt x="63" y="34"/>
                      </a:cubicBezTo>
                      <a:cubicBezTo>
                        <a:pt x="62" y="39"/>
                        <a:pt x="56" y="44"/>
                        <a:pt x="48" y="46"/>
                      </a:cubicBezTo>
                      <a:cubicBezTo>
                        <a:pt x="49" y="42"/>
                        <a:pt x="50" y="38"/>
                        <a:pt x="50" y="34"/>
                      </a:cubicBezTo>
                      <a:close/>
                      <a:moveTo>
                        <a:pt x="48" y="18"/>
                      </a:moveTo>
                      <a:cubicBezTo>
                        <a:pt x="46" y="12"/>
                        <a:pt x="43" y="7"/>
                        <a:pt x="40" y="4"/>
                      </a:cubicBezTo>
                      <a:cubicBezTo>
                        <a:pt x="51" y="7"/>
                        <a:pt x="59" y="15"/>
                        <a:pt x="62" y="26"/>
                      </a:cubicBezTo>
                      <a:cubicBezTo>
                        <a:pt x="59" y="23"/>
                        <a:pt x="54" y="20"/>
                        <a:pt x="48" y="18"/>
                      </a:cubicBezTo>
                      <a:close/>
                      <a:moveTo>
                        <a:pt x="18" y="18"/>
                      </a:moveTo>
                      <a:cubicBezTo>
                        <a:pt x="12" y="20"/>
                        <a:pt x="7" y="23"/>
                        <a:pt x="4" y="26"/>
                      </a:cubicBezTo>
                      <a:cubicBezTo>
                        <a:pt x="6" y="15"/>
                        <a:pt x="15" y="7"/>
                        <a:pt x="26" y="4"/>
                      </a:cubicBezTo>
                      <a:cubicBezTo>
                        <a:pt x="22" y="7"/>
                        <a:pt x="19" y="12"/>
                        <a:pt x="18" y="18"/>
                      </a:cubicBezTo>
                      <a:close/>
                      <a:moveTo>
                        <a:pt x="18" y="48"/>
                      </a:moveTo>
                      <a:cubicBezTo>
                        <a:pt x="19" y="55"/>
                        <a:pt x="22" y="59"/>
                        <a:pt x="26" y="62"/>
                      </a:cubicBezTo>
                      <a:cubicBezTo>
                        <a:pt x="15" y="60"/>
                        <a:pt x="6" y="51"/>
                        <a:pt x="4" y="40"/>
                      </a:cubicBezTo>
                      <a:cubicBezTo>
                        <a:pt x="7" y="44"/>
                        <a:pt x="12" y="47"/>
                        <a:pt x="18" y="48"/>
                      </a:cubicBezTo>
                      <a:close/>
                      <a:moveTo>
                        <a:pt x="48" y="48"/>
                      </a:moveTo>
                      <a:cubicBezTo>
                        <a:pt x="54" y="47"/>
                        <a:pt x="59" y="44"/>
                        <a:pt x="62" y="40"/>
                      </a:cubicBezTo>
                      <a:cubicBezTo>
                        <a:pt x="59" y="51"/>
                        <a:pt x="51" y="60"/>
                        <a:pt x="40" y="62"/>
                      </a:cubicBezTo>
                      <a:cubicBezTo>
                        <a:pt x="43" y="59"/>
                        <a:pt x="46" y="55"/>
                        <a:pt x="48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3" name="Freeform 16">
                  <a:extLst>
                    <a:ext uri="{FF2B5EF4-FFF2-40B4-BE49-F238E27FC236}">
                      <a16:creationId xmlns:a16="http://schemas.microsoft.com/office/drawing/2014/main" id="{EDAAA6CB-2BB3-4C3C-A0CD-D61E75261B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360224" y="2078940"/>
                  <a:ext cx="210345" cy="231919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4" name="Freeform 17">
                  <a:extLst>
                    <a:ext uri="{FF2B5EF4-FFF2-40B4-BE49-F238E27FC236}">
                      <a16:creationId xmlns:a16="http://schemas.microsoft.com/office/drawing/2014/main" id="{3B26EA46-9074-483D-AB10-CF55F491788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752290" y="3398908"/>
                  <a:ext cx="332018" cy="387354"/>
                </a:xfrm>
                <a:custGeom>
                  <a:avLst/>
                  <a:gdLst>
                    <a:gd name="T0" fmla="*/ 18 w 58"/>
                    <a:gd name="T1" fmla="*/ 37 h 68"/>
                    <a:gd name="T2" fmla="*/ 17 w 58"/>
                    <a:gd name="T3" fmla="*/ 31 h 68"/>
                    <a:gd name="T4" fmla="*/ 40 w 58"/>
                    <a:gd name="T5" fmla="*/ 16 h 68"/>
                    <a:gd name="T6" fmla="*/ 17 w 58"/>
                    <a:gd name="T7" fmla="*/ 30 h 68"/>
                    <a:gd name="T8" fmla="*/ 44 w 58"/>
                    <a:gd name="T9" fmla="*/ 18 h 68"/>
                    <a:gd name="T10" fmla="*/ 17 w 58"/>
                    <a:gd name="T11" fmla="*/ 23 h 68"/>
                    <a:gd name="T12" fmla="*/ 30 w 58"/>
                    <a:gd name="T13" fmla="*/ 16 h 68"/>
                    <a:gd name="T14" fmla="*/ 14 w 58"/>
                    <a:gd name="T15" fmla="*/ 21 h 68"/>
                    <a:gd name="T16" fmla="*/ 34 w 58"/>
                    <a:gd name="T17" fmla="*/ 66 h 68"/>
                    <a:gd name="T18" fmla="*/ 28 w 58"/>
                    <a:gd name="T19" fmla="*/ 68 h 68"/>
                    <a:gd name="T20" fmla="*/ 20 w 58"/>
                    <a:gd name="T21" fmla="*/ 62 h 68"/>
                    <a:gd name="T22" fmla="*/ 23 w 58"/>
                    <a:gd name="T23" fmla="*/ 50 h 68"/>
                    <a:gd name="T24" fmla="*/ 17 w 58"/>
                    <a:gd name="T25" fmla="*/ 44 h 68"/>
                    <a:gd name="T26" fmla="*/ 40 w 58"/>
                    <a:gd name="T27" fmla="*/ 30 h 68"/>
                    <a:gd name="T28" fmla="*/ 25 w 58"/>
                    <a:gd name="T29" fmla="*/ 41 h 68"/>
                    <a:gd name="T30" fmla="*/ 29 w 58"/>
                    <a:gd name="T31" fmla="*/ 50 h 68"/>
                    <a:gd name="T32" fmla="*/ 40 w 58"/>
                    <a:gd name="T33" fmla="*/ 39 h 68"/>
                    <a:gd name="T34" fmla="*/ 35 w 58"/>
                    <a:gd name="T35" fmla="*/ 50 h 68"/>
                    <a:gd name="T36" fmla="*/ 34 w 58"/>
                    <a:gd name="T37" fmla="*/ 52 h 68"/>
                    <a:gd name="T38" fmla="*/ 33 w 58"/>
                    <a:gd name="T39" fmla="*/ 52 h 68"/>
                    <a:gd name="T40" fmla="*/ 28 w 58"/>
                    <a:gd name="T41" fmla="*/ 52 h 68"/>
                    <a:gd name="T42" fmla="*/ 22 w 58"/>
                    <a:gd name="T43" fmla="*/ 54 h 68"/>
                    <a:gd name="T44" fmla="*/ 25 w 58"/>
                    <a:gd name="T45" fmla="*/ 64 h 68"/>
                    <a:gd name="T46" fmla="*/ 36 w 58"/>
                    <a:gd name="T47" fmla="*/ 62 h 68"/>
                    <a:gd name="T48" fmla="*/ 39 w 58"/>
                    <a:gd name="T49" fmla="*/ 9 h 68"/>
                    <a:gd name="T50" fmla="*/ 41 w 58"/>
                    <a:gd name="T51" fmla="*/ 10 h 68"/>
                    <a:gd name="T52" fmla="*/ 42 w 58"/>
                    <a:gd name="T53" fmla="*/ 4 h 68"/>
                    <a:gd name="T54" fmla="*/ 15 w 58"/>
                    <a:gd name="T55" fmla="*/ 54 h 68"/>
                    <a:gd name="T56" fmla="*/ 19 w 58"/>
                    <a:gd name="T57" fmla="*/ 49 h 68"/>
                    <a:gd name="T58" fmla="*/ 48 w 58"/>
                    <a:gd name="T59" fmla="*/ 19 h 68"/>
                    <a:gd name="T60" fmla="*/ 54 w 58"/>
                    <a:gd name="T61" fmla="*/ 14 h 68"/>
                    <a:gd name="T62" fmla="*/ 47 w 58"/>
                    <a:gd name="T63" fmla="*/ 18 h 68"/>
                    <a:gd name="T64" fmla="*/ 4 w 58"/>
                    <a:gd name="T65" fmla="*/ 42 h 68"/>
                    <a:gd name="T66" fmla="*/ 5 w 58"/>
                    <a:gd name="T67" fmla="*/ 44 h 68"/>
                    <a:gd name="T68" fmla="*/ 9 w 58"/>
                    <a:gd name="T69" fmla="*/ 39 h 68"/>
                    <a:gd name="T70" fmla="*/ 50 w 58"/>
                    <a:gd name="T71" fmla="*/ 29 h 68"/>
                    <a:gd name="T72" fmla="*/ 58 w 58"/>
                    <a:gd name="T73" fmla="*/ 29 h 68"/>
                    <a:gd name="T74" fmla="*/ 7 w 58"/>
                    <a:gd name="T75" fmla="*/ 28 h 68"/>
                    <a:gd name="T76" fmla="*/ 1 w 58"/>
                    <a:gd name="T77" fmla="*/ 30 h 68"/>
                    <a:gd name="T78" fmla="*/ 49 w 58"/>
                    <a:gd name="T79" fmla="*/ 39 h 68"/>
                    <a:gd name="T80" fmla="*/ 53 w 58"/>
                    <a:gd name="T81" fmla="*/ 44 h 68"/>
                    <a:gd name="T82" fmla="*/ 54 w 58"/>
                    <a:gd name="T83" fmla="*/ 42 h 68"/>
                    <a:gd name="T84" fmla="*/ 4 w 58"/>
                    <a:gd name="T85" fmla="*/ 14 h 68"/>
                    <a:gd name="T86" fmla="*/ 10 w 58"/>
                    <a:gd name="T87" fmla="*/ 19 h 68"/>
                    <a:gd name="T88" fmla="*/ 5 w 58"/>
                    <a:gd name="T89" fmla="*/ 14 h 68"/>
                    <a:gd name="T90" fmla="*/ 39 w 58"/>
                    <a:gd name="T91" fmla="*/ 49 h 68"/>
                    <a:gd name="T92" fmla="*/ 44 w 58"/>
                    <a:gd name="T93" fmla="*/ 54 h 68"/>
                    <a:gd name="T94" fmla="*/ 17 w 58"/>
                    <a:gd name="T95" fmla="*/ 10 h 68"/>
                    <a:gd name="T96" fmla="*/ 19 w 58"/>
                    <a:gd name="T97" fmla="*/ 9 h 68"/>
                    <a:gd name="T98" fmla="*/ 14 w 58"/>
                    <a:gd name="T99" fmla="*/ 5 h 68"/>
                    <a:gd name="T100" fmla="*/ 30 w 58"/>
                    <a:gd name="T101" fmla="*/ 7 h 68"/>
                    <a:gd name="T102" fmla="*/ 28 w 58"/>
                    <a:gd name="T103" fmla="*/ 1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8" h="68">
                      <a:moveTo>
                        <a:pt x="44" y="25"/>
                      </a:moveTo>
                      <a:cubicBezTo>
                        <a:pt x="44" y="26"/>
                        <a:pt x="42" y="28"/>
                        <a:pt x="41" y="28"/>
                      </a:cubicBezTo>
                      <a:cubicBezTo>
                        <a:pt x="18" y="37"/>
                        <a:pt x="18" y="37"/>
                        <a:pt x="18" y="37"/>
                      </a:cubicBezTo>
                      <a:cubicBezTo>
                        <a:pt x="18" y="37"/>
                        <a:pt x="17" y="37"/>
                        <a:pt x="17" y="37"/>
                      </a:cubicBezTo>
                      <a:cubicBezTo>
                        <a:pt x="15" y="37"/>
                        <a:pt x="14" y="36"/>
                        <a:pt x="14" y="35"/>
                      </a:cubicBezTo>
                      <a:cubicBezTo>
                        <a:pt x="14" y="33"/>
                        <a:pt x="16" y="32"/>
                        <a:pt x="17" y="31"/>
                      </a:cubicBezTo>
                      <a:cubicBezTo>
                        <a:pt x="40" y="23"/>
                        <a:pt x="40" y="23"/>
                        <a:pt x="40" y="23"/>
                      </a:cubicBezTo>
                      <a:cubicBezTo>
                        <a:pt x="42" y="22"/>
                        <a:pt x="44" y="23"/>
                        <a:pt x="44" y="25"/>
                      </a:cubicBezTo>
                      <a:close/>
                      <a:moveTo>
                        <a:pt x="40" y="16"/>
                      </a:move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6" y="25"/>
                        <a:pt x="14" y="26"/>
                        <a:pt x="14" y="28"/>
                      </a:cubicBezTo>
                      <a:cubicBezTo>
                        <a:pt x="14" y="29"/>
                        <a:pt x="15" y="30"/>
                        <a:pt x="17" y="30"/>
                      </a:cubicBezTo>
                      <a:cubicBezTo>
                        <a:pt x="17" y="30"/>
                        <a:pt x="18" y="30"/>
                        <a:pt x="18" y="30"/>
                      </a:cubicBez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21"/>
                        <a:pt x="44" y="19"/>
                        <a:pt x="44" y="18"/>
                      </a:cubicBezTo>
                      <a:cubicBezTo>
                        <a:pt x="44" y="16"/>
                        <a:pt x="42" y="15"/>
                        <a:pt x="40" y="16"/>
                      </a:cubicBezTo>
                      <a:close/>
                      <a:moveTo>
                        <a:pt x="14" y="21"/>
                      </a:moveTo>
                      <a:cubicBezTo>
                        <a:pt x="14" y="22"/>
                        <a:pt x="15" y="23"/>
                        <a:pt x="17" y="23"/>
                      </a:cubicBezTo>
                      <a:cubicBezTo>
                        <a:pt x="17" y="23"/>
                        <a:pt x="18" y="23"/>
                        <a:pt x="18" y="23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cubicBezTo>
                        <a:pt x="29" y="19"/>
                        <a:pt x="30" y="17"/>
                        <a:pt x="30" y="16"/>
                      </a:cubicBezTo>
                      <a:cubicBezTo>
                        <a:pt x="30" y="14"/>
                        <a:pt x="28" y="13"/>
                        <a:pt x="26" y="14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16" y="18"/>
                        <a:pt x="14" y="19"/>
                        <a:pt x="14" y="21"/>
                      </a:cubicBezTo>
                      <a:close/>
                      <a:moveTo>
                        <a:pt x="38" y="54"/>
                      </a:move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38" y="64"/>
                        <a:pt x="36" y="66"/>
                        <a:pt x="34" y="66"/>
                      </a:cubicBezTo>
                      <a:cubicBezTo>
                        <a:pt x="33" y="66"/>
                        <a:pt x="33" y="66"/>
                        <a:pt x="33" y="66"/>
                      </a:cubicBezTo>
                      <a:cubicBezTo>
                        <a:pt x="33" y="67"/>
                        <a:pt x="32" y="68"/>
                        <a:pt x="30" y="68"/>
                      </a:cubicBez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26" y="68"/>
                        <a:pt x="25" y="67"/>
                        <a:pt x="25" y="66"/>
                      </a:cubicBezTo>
                      <a:cubicBezTo>
                        <a:pt x="24" y="66"/>
                        <a:pt x="24" y="66"/>
                        <a:pt x="24" y="66"/>
                      </a:cubicBezTo>
                      <a:cubicBezTo>
                        <a:pt x="22" y="66"/>
                        <a:pt x="20" y="64"/>
                        <a:pt x="20" y="62"/>
                      </a:cubicBezTo>
                      <a:cubicBezTo>
                        <a:pt x="20" y="54"/>
                        <a:pt x="20" y="54"/>
                        <a:pt x="20" y="54"/>
                      </a:cubicBezTo>
                      <a:cubicBezTo>
                        <a:pt x="20" y="52"/>
                        <a:pt x="22" y="51"/>
                        <a:pt x="23" y="50"/>
                      </a:cubicBezTo>
                      <a:cubicBezTo>
                        <a:pt x="23" y="50"/>
                        <a:pt x="23" y="50"/>
                        <a:pt x="23" y="50"/>
                      </a:cubicBezTo>
                      <a:cubicBezTo>
                        <a:pt x="23" y="47"/>
                        <a:pt x="21" y="44"/>
                        <a:pt x="20" y="43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5" y="44"/>
                        <a:pt x="14" y="43"/>
                        <a:pt x="14" y="42"/>
                      </a:cubicBezTo>
                      <a:cubicBezTo>
                        <a:pt x="14" y="40"/>
                        <a:pt x="16" y="39"/>
                        <a:pt x="17" y="38"/>
                      </a:cubicBezTo>
                      <a:cubicBezTo>
                        <a:pt x="40" y="30"/>
                        <a:pt x="40" y="30"/>
                        <a:pt x="40" y="30"/>
                      </a:cubicBezTo>
                      <a:cubicBezTo>
                        <a:pt x="42" y="29"/>
                        <a:pt x="44" y="30"/>
                        <a:pt x="44" y="32"/>
                      </a:cubicBezTo>
                      <a:cubicBezTo>
                        <a:pt x="44" y="33"/>
                        <a:pt x="42" y="35"/>
                        <a:pt x="41" y="36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27" y="43"/>
                        <a:pt x="29" y="46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43"/>
                        <a:pt x="36" y="38"/>
                        <a:pt x="37" y="38"/>
                      </a:cubicBezTo>
                      <a:cubicBezTo>
                        <a:pt x="38" y="37"/>
                        <a:pt x="39" y="38"/>
                        <a:pt x="40" y="39"/>
                      </a:cubicBezTo>
                      <a:cubicBezTo>
                        <a:pt x="41" y="40"/>
                        <a:pt x="41" y="42"/>
                        <a:pt x="39" y="43"/>
                      </a:cubicBezTo>
                      <a:cubicBezTo>
                        <a:pt x="39" y="43"/>
                        <a:pt x="35" y="46"/>
                        <a:pt x="35" y="50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6" y="51"/>
                        <a:pt x="38" y="52"/>
                        <a:pt x="38" y="54"/>
                      </a:cubicBezTo>
                      <a:close/>
                      <a:moveTo>
                        <a:pt x="36" y="54"/>
                      </a:moveTo>
                      <a:cubicBezTo>
                        <a:pt x="36" y="53"/>
                        <a:pt x="35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3" y="52"/>
                      </a:cubicBezTo>
                      <a:cubicBezTo>
                        <a:pt x="33" y="52"/>
                        <a:pt x="33" y="52"/>
                        <a:pt x="33" y="52"/>
                      </a:cubicBezTo>
                      <a:cubicBezTo>
                        <a:pt x="30" y="52"/>
                        <a:pt x="30" y="52"/>
                        <a:pt x="30" y="52"/>
                      </a:cubicBezTo>
                      <a:cubicBezTo>
                        <a:pt x="28" y="52"/>
                        <a:pt x="28" y="52"/>
                        <a:pt x="28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3" y="52"/>
                        <a:pt x="22" y="53"/>
                        <a:pt x="22" y="54"/>
                      </a:cubicBezTo>
                      <a:cubicBezTo>
                        <a:pt x="22" y="62"/>
                        <a:pt x="22" y="62"/>
                        <a:pt x="22" y="62"/>
                      </a:cubicBezTo>
                      <a:cubicBezTo>
                        <a:pt x="22" y="63"/>
                        <a:pt x="23" y="64"/>
                        <a:pt x="24" y="64"/>
                      </a:cubicBezTo>
                      <a:cubicBezTo>
                        <a:pt x="25" y="64"/>
                        <a:pt x="25" y="64"/>
                        <a:pt x="25" y="64"/>
                      </a:cubicBezTo>
                      <a:cubicBezTo>
                        <a:pt x="33" y="64"/>
                        <a:pt x="33" y="64"/>
                        <a:pt x="33" y="64"/>
                      </a:cubicBezTo>
                      <a:cubicBezTo>
                        <a:pt x="34" y="64"/>
                        <a:pt x="34" y="64"/>
                        <a:pt x="34" y="64"/>
                      </a:cubicBezTo>
                      <a:cubicBezTo>
                        <a:pt x="35" y="64"/>
                        <a:pt x="36" y="63"/>
                        <a:pt x="36" y="62"/>
                      </a:cubicBezTo>
                      <a:lnTo>
                        <a:pt x="36" y="54"/>
                      </a:lnTo>
                      <a:close/>
                      <a:moveTo>
                        <a:pt x="42" y="4"/>
                      </a:moveTo>
                      <a:cubicBezTo>
                        <a:pt x="39" y="9"/>
                        <a:pt x="39" y="9"/>
                        <a:pt x="39" y="9"/>
                      </a:cubicBezTo>
                      <a:cubicBezTo>
                        <a:pt x="39" y="10"/>
                        <a:pt x="39" y="10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ubicBezTo>
                        <a:pt x="40" y="11"/>
                        <a:pt x="41" y="11"/>
                        <a:pt x="41" y="10"/>
                      </a:cubicBezTo>
                      <a:cubicBezTo>
                        <a:pt x="44" y="5"/>
                        <a:pt x="44" y="5"/>
                        <a:pt x="44" y="5"/>
                      </a:cubicBezTo>
                      <a:cubicBezTo>
                        <a:pt x="44" y="5"/>
                        <a:pt x="44" y="4"/>
                        <a:pt x="44" y="4"/>
                      </a:cubicBezTo>
                      <a:cubicBezTo>
                        <a:pt x="43" y="4"/>
                        <a:pt x="42" y="4"/>
                        <a:pt x="42" y="4"/>
                      </a:cubicBezTo>
                      <a:close/>
                      <a:moveTo>
                        <a:pt x="17" y="48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4"/>
                        <a:pt x="16" y="54"/>
                        <a:pt x="16" y="54"/>
                      </a:cubicBezTo>
                      <a:cubicBezTo>
                        <a:pt x="19" y="49"/>
                        <a:pt x="19" y="49"/>
                        <a:pt x="19" y="49"/>
                      </a:cubicBezTo>
                      <a:cubicBezTo>
                        <a:pt x="19" y="48"/>
                        <a:pt x="19" y="47"/>
                        <a:pt x="18" y="47"/>
                      </a:cubicBezTo>
                      <a:cubicBezTo>
                        <a:pt x="18" y="47"/>
                        <a:pt x="17" y="47"/>
                        <a:pt x="17" y="48"/>
                      </a:cubicBezTo>
                      <a:close/>
                      <a:moveTo>
                        <a:pt x="48" y="19"/>
                      </a:moveTo>
                      <a:cubicBezTo>
                        <a:pt x="48" y="19"/>
                        <a:pt x="48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4" y="16"/>
                        <a:pt x="54" y="15"/>
                        <a:pt x="54" y="14"/>
                      </a:cubicBezTo>
                      <a:cubicBezTo>
                        <a:pt x="54" y="14"/>
                        <a:pt x="53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7" y="18"/>
                      </a:cubicBezTo>
                      <a:cubicBezTo>
                        <a:pt x="47" y="19"/>
                        <a:pt x="48" y="19"/>
                        <a:pt x="48" y="19"/>
                      </a:cubicBezTo>
                      <a:close/>
                      <a:moveTo>
                        <a:pt x="9" y="39"/>
                      </a:moveTo>
                      <a:cubicBezTo>
                        <a:pt x="4" y="42"/>
                        <a:pt x="4" y="42"/>
                        <a:pt x="4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4" y="44"/>
                        <a:pt x="5" y="44"/>
                      </a:cubicBezTo>
                      <a:cubicBezTo>
                        <a:pt x="5" y="44"/>
                        <a:pt x="5" y="44"/>
                        <a:pt x="5" y="4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1"/>
                        <a:pt x="11" y="40"/>
                        <a:pt x="11" y="40"/>
                      </a:cubicBezTo>
                      <a:cubicBezTo>
                        <a:pt x="10" y="39"/>
                        <a:pt x="10" y="39"/>
                        <a:pt x="9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30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30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7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0" y="28"/>
                        <a:pt x="0" y="28"/>
                        <a:pt x="0" y="29"/>
                      </a:cubicBezTo>
                      <a:cubicBezTo>
                        <a:pt x="0" y="30"/>
                        <a:pt x="0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7" y="30"/>
                        <a:pt x="8" y="30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7" y="40"/>
                      </a:cubicBezTo>
                      <a:cubicBezTo>
                        <a:pt x="47" y="40"/>
                        <a:pt x="47" y="41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4" y="43"/>
                        <a:pt x="54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5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6"/>
                        <a:pt x="4" y="16"/>
                      </a:cubicBez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0" y="17"/>
                      </a:cubicBezTo>
                      <a:lnTo>
                        <a:pt x="5" y="14"/>
                      </a:lnTo>
                      <a:close/>
                      <a:moveTo>
                        <a:pt x="41" y="48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9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2" y="54"/>
                        <a:pt x="43" y="54"/>
                        <a:pt x="43" y="54"/>
                      </a:cubicBezTo>
                      <a:cubicBezTo>
                        <a:pt x="43" y="54"/>
                        <a:pt x="43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8"/>
                      </a:lnTo>
                      <a:close/>
                      <a:moveTo>
                        <a:pt x="17" y="10"/>
                      </a:moveTo>
                      <a:cubicBezTo>
                        <a:pt x="17" y="11"/>
                        <a:pt x="18" y="11"/>
                        <a:pt x="18" y="11"/>
                      </a:cubicBezTo>
                      <a:cubicBezTo>
                        <a:pt x="18" y="11"/>
                        <a:pt x="18" y="11"/>
                        <a:pt x="18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4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8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8" y="8"/>
                        <a:pt x="29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5" name="Freeform 18">
                  <a:extLst>
                    <a:ext uri="{FF2B5EF4-FFF2-40B4-BE49-F238E27FC236}">
                      <a16:creationId xmlns:a16="http://schemas.microsoft.com/office/drawing/2014/main" id="{7B86259C-7269-4C67-85F8-A94E4F5D5AA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02590" y="3548096"/>
                  <a:ext cx="218436" cy="214390"/>
                </a:xfrm>
                <a:custGeom>
                  <a:avLst/>
                  <a:gdLst>
                    <a:gd name="T0" fmla="*/ 12 w 68"/>
                    <a:gd name="T1" fmla="*/ 0 h 67"/>
                    <a:gd name="T2" fmla="*/ 0 w 68"/>
                    <a:gd name="T3" fmla="*/ 56 h 67"/>
                    <a:gd name="T4" fmla="*/ 57 w 68"/>
                    <a:gd name="T5" fmla="*/ 67 h 67"/>
                    <a:gd name="T6" fmla="*/ 68 w 68"/>
                    <a:gd name="T7" fmla="*/ 11 h 67"/>
                    <a:gd name="T8" fmla="*/ 65 w 68"/>
                    <a:gd name="T9" fmla="*/ 11 h 67"/>
                    <a:gd name="T10" fmla="*/ 57 w 68"/>
                    <a:gd name="T11" fmla="*/ 64 h 67"/>
                    <a:gd name="T12" fmla="*/ 3 w 68"/>
                    <a:gd name="T13" fmla="*/ 56 h 67"/>
                    <a:gd name="T14" fmla="*/ 12 w 68"/>
                    <a:gd name="T15" fmla="*/ 3 h 67"/>
                    <a:gd name="T16" fmla="*/ 65 w 68"/>
                    <a:gd name="T17" fmla="*/ 11 h 67"/>
                    <a:gd name="T18" fmla="*/ 12 w 68"/>
                    <a:gd name="T19" fmla="*/ 5 h 67"/>
                    <a:gd name="T20" fmla="*/ 6 w 68"/>
                    <a:gd name="T21" fmla="*/ 56 h 67"/>
                    <a:gd name="T22" fmla="*/ 56 w 68"/>
                    <a:gd name="T23" fmla="*/ 62 h 67"/>
                    <a:gd name="T24" fmla="*/ 63 w 68"/>
                    <a:gd name="T25" fmla="*/ 12 h 67"/>
                    <a:gd name="T26" fmla="*/ 61 w 68"/>
                    <a:gd name="T27" fmla="*/ 12 h 67"/>
                    <a:gd name="T28" fmla="*/ 35 w 68"/>
                    <a:gd name="T29" fmla="*/ 33 h 67"/>
                    <a:gd name="T30" fmla="*/ 56 w 68"/>
                    <a:gd name="T31" fmla="*/ 7 h 67"/>
                    <a:gd name="T32" fmla="*/ 12 w 68"/>
                    <a:gd name="T33" fmla="*/ 7 h 67"/>
                    <a:gd name="T34" fmla="*/ 33 w 68"/>
                    <a:gd name="T35" fmla="*/ 33 h 67"/>
                    <a:gd name="T36" fmla="*/ 8 w 68"/>
                    <a:gd name="T37" fmla="*/ 12 h 67"/>
                    <a:gd name="T38" fmla="*/ 8 w 68"/>
                    <a:gd name="T39" fmla="*/ 56 h 67"/>
                    <a:gd name="T40" fmla="*/ 33 w 68"/>
                    <a:gd name="T41" fmla="*/ 35 h 67"/>
                    <a:gd name="T42" fmla="*/ 12 w 68"/>
                    <a:gd name="T43" fmla="*/ 60 h 67"/>
                    <a:gd name="T44" fmla="*/ 56 w 68"/>
                    <a:gd name="T45" fmla="*/ 60 h 67"/>
                    <a:gd name="T46" fmla="*/ 35 w 68"/>
                    <a:gd name="T47" fmla="*/ 35 h 67"/>
                    <a:gd name="T48" fmla="*/ 61 w 68"/>
                    <a:gd name="T49" fmla="*/ 56 h 67"/>
                    <a:gd name="T50" fmla="*/ 12 w 68"/>
                    <a:gd name="T51" fmla="*/ 20 h 67"/>
                    <a:gd name="T52" fmla="*/ 19 w 68"/>
                    <a:gd name="T53" fmla="*/ 19 h 67"/>
                    <a:gd name="T54" fmla="*/ 20 w 68"/>
                    <a:gd name="T55" fmla="*/ 12 h 67"/>
                    <a:gd name="T56" fmla="*/ 21 w 68"/>
                    <a:gd name="T57" fmla="*/ 19 h 67"/>
                    <a:gd name="T58" fmla="*/ 29 w 68"/>
                    <a:gd name="T59" fmla="*/ 20 h 67"/>
                    <a:gd name="T60" fmla="*/ 21 w 68"/>
                    <a:gd name="T61" fmla="*/ 21 h 67"/>
                    <a:gd name="T62" fmla="*/ 20 w 68"/>
                    <a:gd name="T63" fmla="*/ 28 h 67"/>
                    <a:gd name="T64" fmla="*/ 19 w 68"/>
                    <a:gd name="T65" fmla="*/ 21 h 67"/>
                    <a:gd name="T66" fmla="*/ 12 w 68"/>
                    <a:gd name="T67" fmla="*/ 20 h 67"/>
                    <a:gd name="T68" fmla="*/ 26 w 68"/>
                    <a:gd name="T69" fmla="*/ 53 h 67"/>
                    <a:gd name="T70" fmla="*/ 25 w 68"/>
                    <a:gd name="T71" fmla="*/ 53 h 67"/>
                    <a:gd name="T72" fmla="*/ 16 w 68"/>
                    <a:gd name="T73" fmla="*/ 53 h 67"/>
                    <a:gd name="T74" fmla="*/ 15 w 68"/>
                    <a:gd name="T75" fmla="*/ 53 h 67"/>
                    <a:gd name="T76" fmla="*/ 19 w 68"/>
                    <a:gd name="T77" fmla="*/ 47 h 67"/>
                    <a:gd name="T78" fmla="*/ 15 w 68"/>
                    <a:gd name="T79" fmla="*/ 42 h 67"/>
                    <a:gd name="T80" fmla="*/ 20 w 68"/>
                    <a:gd name="T81" fmla="*/ 46 h 67"/>
                    <a:gd name="T82" fmla="*/ 26 w 68"/>
                    <a:gd name="T83" fmla="*/ 42 h 67"/>
                    <a:gd name="T84" fmla="*/ 22 w 68"/>
                    <a:gd name="T85" fmla="*/ 47 h 67"/>
                    <a:gd name="T86" fmla="*/ 40 w 68"/>
                    <a:gd name="T87" fmla="*/ 19 h 67"/>
                    <a:gd name="T88" fmla="*/ 56 w 68"/>
                    <a:gd name="T89" fmla="*/ 18 h 67"/>
                    <a:gd name="T90" fmla="*/ 56 w 68"/>
                    <a:gd name="T91" fmla="*/ 20 h 67"/>
                    <a:gd name="T92" fmla="*/ 40 w 68"/>
                    <a:gd name="T93" fmla="*/ 19 h 67"/>
                    <a:gd name="T94" fmla="*/ 55 w 68"/>
                    <a:gd name="T95" fmla="*/ 45 h 67"/>
                    <a:gd name="T96" fmla="*/ 40 w 68"/>
                    <a:gd name="T97" fmla="*/ 44 h 67"/>
                    <a:gd name="T98" fmla="*/ 55 w 68"/>
                    <a:gd name="T99" fmla="*/ 43 h 67"/>
                    <a:gd name="T100" fmla="*/ 56 w 68"/>
                    <a:gd name="T101" fmla="*/ 50 h 67"/>
                    <a:gd name="T102" fmla="*/ 41 w 68"/>
                    <a:gd name="T103" fmla="*/ 51 h 67"/>
                    <a:gd name="T104" fmla="*/ 41 w 68"/>
                    <a:gd name="T105" fmla="*/ 49 h 67"/>
                    <a:gd name="T106" fmla="*/ 56 w 68"/>
                    <a:gd name="T107" fmla="*/ 5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57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0" y="62"/>
                        <a:pt x="5" y="67"/>
                        <a:pt x="12" y="67"/>
                      </a:cubicBezTo>
                      <a:cubicBezTo>
                        <a:pt x="57" y="67"/>
                        <a:pt x="57" y="67"/>
                        <a:pt x="57" y="67"/>
                      </a:cubicBezTo>
                      <a:cubicBezTo>
                        <a:pt x="63" y="67"/>
                        <a:pt x="68" y="62"/>
                        <a:pt x="68" y="56"/>
                      </a:cubicBezTo>
                      <a:cubicBezTo>
                        <a:pt x="68" y="11"/>
                        <a:pt x="68" y="11"/>
                        <a:pt x="68" y="11"/>
                      </a:cubicBezTo>
                      <a:cubicBezTo>
                        <a:pt x="68" y="5"/>
                        <a:pt x="63" y="0"/>
                        <a:pt x="57" y="0"/>
                      </a:cubicBezTo>
                      <a:close/>
                      <a:moveTo>
                        <a:pt x="65" y="11"/>
                      </a:moveTo>
                      <a:cubicBezTo>
                        <a:pt x="65" y="56"/>
                        <a:pt x="65" y="56"/>
                        <a:pt x="65" y="56"/>
                      </a:cubicBezTo>
                      <a:cubicBezTo>
                        <a:pt x="65" y="61"/>
                        <a:pt x="61" y="64"/>
                        <a:pt x="57" y="64"/>
                      </a:cubicBezTo>
                      <a:cubicBezTo>
                        <a:pt x="12" y="64"/>
                        <a:pt x="12" y="64"/>
                        <a:pt x="12" y="64"/>
                      </a:cubicBezTo>
                      <a:cubicBezTo>
                        <a:pt x="7" y="64"/>
                        <a:pt x="3" y="61"/>
                        <a:pt x="3" y="56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7"/>
                        <a:pt x="7" y="3"/>
                        <a:pt x="12" y="3"/>
                      </a:cubicBezTo>
                      <a:cubicBezTo>
                        <a:pt x="57" y="3"/>
                        <a:pt x="57" y="3"/>
                        <a:pt x="57" y="3"/>
                      </a:cubicBezTo>
                      <a:cubicBezTo>
                        <a:pt x="61" y="3"/>
                        <a:pt x="65" y="7"/>
                        <a:pt x="65" y="11"/>
                      </a:cubicBezTo>
                      <a:close/>
                      <a:moveTo>
                        <a:pt x="56" y="5"/>
                      </a:move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9" y="5"/>
                        <a:pt x="6" y="8"/>
                        <a:pt x="6" y="12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6" y="59"/>
                        <a:pt x="9" y="62"/>
                        <a:pt x="12" y="62"/>
                      </a:cubicBezTo>
                      <a:cubicBezTo>
                        <a:pt x="56" y="62"/>
                        <a:pt x="56" y="62"/>
                        <a:pt x="56" y="62"/>
                      </a:cubicBezTo>
                      <a:cubicBezTo>
                        <a:pt x="60" y="62"/>
                        <a:pt x="63" y="59"/>
                        <a:pt x="63" y="56"/>
                      </a:cubicBezTo>
                      <a:cubicBezTo>
                        <a:pt x="63" y="12"/>
                        <a:pt x="63" y="12"/>
                        <a:pt x="63" y="12"/>
                      </a:cubicBezTo>
                      <a:cubicBezTo>
                        <a:pt x="63" y="8"/>
                        <a:pt x="60" y="5"/>
                        <a:pt x="56" y="5"/>
                      </a:cubicBezTo>
                      <a:close/>
                      <a:moveTo>
                        <a:pt x="61" y="12"/>
                      </a:move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35" y="33"/>
                        <a:pt x="35" y="33"/>
                        <a:pt x="35" y="33"/>
                      </a:cubicBezTo>
                      <a:cubicBezTo>
                        <a:pt x="35" y="7"/>
                        <a:pt x="35" y="7"/>
                        <a:pt x="35" y="7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9" y="7"/>
                        <a:pt x="61" y="9"/>
                        <a:pt x="61" y="12"/>
                      </a:cubicBezTo>
                      <a:close/>
                      <a:moveTo>
                        <a:pt x="12" y="7"/>
                      </a:move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9"/>
                        <a:pt x="10" y="7"/>
                        <a:pt x="12" y="7"/>
                      </a:cubicBezTo>
                      <a:close/>
                      <a:moveTo>
                        <a:pt x="8" y="56"/>
                      </a:move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33" y="35"/>
                        <a:pt x="33" y="35"/>
                        <a:pt x="33" y="35"/>
                      </a:cubicBezTo>
                      <a:cubicBezTo>
                        <a:pt x="33" y="60"/>
                        <a:pt x="33" y="60"/>
                        <a:pt x="33" y="6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0" y="60"/>
                        <a:pt x="8" y="58"/>
                        <a:pt x="8" y="56"/>
                      </a:cubicBezTo>
                      <a:close/>
                      <a:moveTo>
                        <a:pt x="56" y="60"/>
                      </a:moveTo>
                      <a:cubicBezTo>
                        <a:pt x="35" y="60"/>
                        <a:pt x="35" y="60"/>
                        <a:pt x="35" y="6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1" y="35"/>
                        <a:pt x="61" y="35"/>
                        <a:pt x="61" y="35"/>
                      </a:cubicBez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58"/>
                        <a:pt x="59" y="60"/>
                        <a:pt x="56" y="60"/>
                      </a:cubicBezTo>
                      <a:close/>
                      <a:moveTo>
                        <a:pt x="12" y="20"/>
                      </a:moveTo>
                      <a:cubicBezTo>
                        <a:pt x="12" y="19"/>
                        <a:pt x="13" y="19"/>
                        <a:pt x="13" y="19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2"/>
                        <a:pt x="20" y="12"/>
                        <a:pt x="20" y="12"/>
                      </a:cubicBezTo>
                      <a:cubicBezTo>
                        <a:pt x="21" y="12"/>
                        <a:pt x="21" y="12"/>
                        <a:pt x="21" y="13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8" y="19"/>
                        <a:pt x="29" y="19"/>
                        <a:pt x="29" y="20"/>
                      </a:cubicBezTo>
                      <a:cubicBezTo>
                        <a:pt x="29" y="20"/>
                        <a:pt x="28" y="21"/>
                        <a:pt x="28" y="21"/>
                      </a:cubicBezTo>
                      <a:cubicBezTo>
                        <a:pt x="21" y="21"/>
                        <a:pt x="21" y="21"/>
                        <a:pt x="21" y="21"/>
                      </a:cubicBez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21" y="27"/>
                        <a:pt x="21" y="28"/>
                        <a:pt x="20" y="28"/>
                      </a:cubicBezTo>
                      <a:cubicBezTo>
                        <a:pt x="20" y="28"/>
                        <a:pt x="19" y="27"/>
                        <a:pt x="19" y="27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3" y="21"/>
                        <a:pt x="12" y="20"/>
                        <a:pt x="12" y="20"/>
                      </a:cubicBezTo>
                      <a:close/>
                      <a:moveTo>
                        <a:pt x="26" y="52"/>
                      </a:moveTo>
                      <a:cubicBezTo>
                        <a:pt x="27" y="52"/>
                        <a:pt x="27" y="53"/>
                        <a:pt x="26" y="53"/>
                      </a:cubicBezTo>
                      <a:cubicBezTo>
                        <a:pt x="26" y="53"/>
                        <a:pt x="26" y="53"/>
                        <a:pt x="25" y="53"/>
                      </a:cubicBezTo>
                      <a:cubicBezTo>
                        <a:pt x="25" y="53"/>
                        <a:pt x="25" y="53"/>
                        <a:pt x="25" y="53"/>
                      </a:cubicBezTo>
                      <a:cubicBezTo>
                        <a:pt x="20" y="49"/>
                        <a:pt x="20" y="49"/>
                        <a:pt x="20" y="49"/>
                      </a:cubicBezTo>
                      <a:cubicBezTo>
                        <a:pt x="16" y="53"/>
                        <a:pt x="16" y="53"/>
                        <a:pt x="16" y="53"/>
                      </a:cubicBezTo>
                      <a:cubicBezTo>
                        <a:pt x="16" y="53"/>
                        <a:pt x="16" y="53"/>
                        <a:pt x="15" y="53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4" y="53"/>
                        <a:pt x="14" y="52"/>
                        <a:pt x="15" y="52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4" y="43"/>
                        <a:pt x="14" y="42"/>
                        <a:pt x="15" y="42"/>
                      </a:cubicBezTo>
                      <a:cubicBezTo>
                        <a:pt x="15" y="41"/>
                        <a:pt x="16" y="41"/>
                        <a:pt x="16" y="42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5" y="42"/>
                        <a:pt x="25" y="42"/>
                        <a:pt x="25" y="42"/>
                      </a:cubicBezTo>
                      <a:cubicBezTo>
                        <a:pt x="25" y="41"/>
                        <a:pt x="26" y="41"/>
                        <a:pt x="26" y="42"/>
                      </a:cubicBezTo>
                      <a:cubicBezTo>
                        <a:pt x="27" y="42"/>
                        <a:pt x="27" y="43"/>
                        <a:pt x="26" y="43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lnTo>
                        <a:pt x="26" y="52"/>
                      </a:lnTo>
                      <a:close/>
                      <a:moveTo>
                        <a:pt x="40" y="19"/>
                      </a:moveTo>
                      <a:cubicBezTo>
                        <a:pt x="40" y="19"/>
                        <a:pt x="41" y="18"/>
                        <a:pt x="41" y="18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7" y="19"/>
                        <a:pt x="57" y="19"/>
                      </a:cubicBezTo>
                      <a:cubicBezTo>
                        <a:pt x="57" y="20"/>
                        <a:pt x="56" y="20"/>
                        <a:pt x="56" y="20"/>
                      </a:cubicBezTo>
                      <a:cubicBezTo>
                        <a:pt x="41" y="20"/>
                        <a:pt x="41" y="20"/>
                        <a:pt x="41" y="20"/>
                      </a:cubicBezTo>
                      <a:cubicBezTo>
                        <a:pt x="41" y="20"/>
                        <a:pt x="40" y="20"/>
                        <a:pt x="40" y="19"/>
                      </a:cubicBezTo>
                      <a:close/>
                      <a:moveTo>
                        <a:pt x="56" y="44"/>
                      </a:moveTo>
                      <a:cubicBezTo>
                        <a:pt x="56" y="45"/>
                        <a:pt x="56" y="45"/>
                        <a:pt x="55" y="45"/>
                      </a:cubicBezTo>
                      <a:cubicBezTo>
                        <a:pt x="41" y="45"/>
                        <a:pt x="41" y="45"/>
                        <a:pt x="41" y="45"/>
                      </a:cubicBezTo>
                      <a:cubicBezTo>
                        <a:pt x="41" y="45"/>
                        <a:pt x="40" y="45"/>
                        <a:pt x="40" y="44"/>
                      </a:cubicBezTo>
                      <a:cubicBezTo>
                        <a:pt x="40" y="44"/>
                        <a:pt x="41" y="43"/>
                        <a:pt x="41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6" y="43"/>
                        <a:pt x="56" y="44"/>
                        <a:pt x="56" y="44"/>
                      </a:cubicBezTo>
                      <a:close/>
                      <a:moveTo>
                        <a:pt x="56" y="50"/>
                      </a:moveTo>
                      <a:cubicBezTo>
                        <a:pt x="56" y="51"/>
                        <a:pt x="56" y="51"/>
                        <a:pt x="55" y="51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1" y="51"/>
                        <a:pt x="40" y="51"/>
                        <a:pt x="40" y="50"/>
                      </a:cubicBezTo>
                      <a:cubicBezTo>
                        <a:pt x="40" y="50"/>
                        <a:pt x="41" y="49"/>
                        <a:pt x="41" y="49"/>
                      </a:cubicBezTo>
                      <a:cubicBezTo>
                        <a:pt x="55" y="49"/>
                        <a:pt x="55" y="49"/>
                        <a:pt x="55" y="49"/>
                      </a:cubicBezTo>
                      <a:cubicBezTo>
                        <a:pt x="56" y="49"/>
                        <a:pt x="56" y="50"/>
                        <a:pt x="56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6" name="Freeform 19">
                  <a:extLst>
                    <a:ext uri="{FF2B5EF4-FFF2-40B4-BE49-F238E27FC236}">
                      <a16:creationId xmlns:a16="http://schemas.microsoft.com/office/drawing/2014/main" id="{B98AD2CD-9C83-450F-B3EE-8A2D545987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460755" y="1437005"/>
                  <a:ext cx="499264" cy="422907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7" name="Freeform 62">
                  <a:extLst>
                    <a:ext uri="{FF2B5EF4-FFF2-40B4-BE49-F238E27FC236}">
                      <a16:creationId xmlns:a16="http://schemas.microsoft.com/office/drawing/2014/main" id="{474E3ED3-FC7C-423B-8BBE-9947954CDA8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70746" y="1930749"/>
                  <a:ext cx="292609" cy="338210"/>
                </a:xfrm>
                <a:custGeom>
                  <a:avLst/>
                  <a:gdLst>
                    <a:gd name="T0" fmla="*/ 54 w 62"/>
                    <a:gd name="T1" fmla="*/ 0 h 72"/>
                    <a:gd name="T2" fmla="*/ 8 w 62"/>
                    <a:gd name="T3" fmla="*/ 0 h 72"/>
                    <a:gd name="T4" fmla="*/ 0 w 62"/>
                    <a:gd name="T5" fmla="*/ 8 h 72"/>
                    <a:gd name="T6" fmla="*/ 0 w 62"/>
                    <a:gd name="T7" fmla="*/ 64 h 72"/>
                    <a:gd name="T8" fmla="*/ 8 w 62"/>
                    <a:gd name="T9" fmla="*/ 72 h 72"/>
                    <a:gd name="T10" fmla="*/ 54 w 62"/>
                    <a:gd name="T11" fmla="*/ 72 h 72"/>
                    <a:gd name="T12" fmla="*/ 62 w 62"/>
                    <a:gd name="T13" fmla="*/ 64 h 72"/>
                    <a:gd name="T14" fmla="*/ 62 w 62"/>
                    <a:gd name="T15" fmla="*/ 8 h 72"/>
                    <a:gd name="T16" fmla="*/ 54 w 62"/>
                    <a:gd name="T17" fmla="*/ 0 h 72"/>
                    <a:gd name="T18" fmla="*/ 8 w 62"/>
                    <a:gd name="T19" fmla="*/ 3 h 72"/>
                    <a:gd name="T20" fmla="*/ 54 w 62"/>
                    <a:gd name="T21" fmla="*/ 3 h 72"/>
                    <a:gd name="T22" fmla="*/ 59 w 62"/>
                    <a:gd name="T23" fmla="*/ 8 h 72"/>
                    <a:gd name="T24" fmla="*/ 59 w 62"/>
                    <a:gd name="T25" fmla="*/ 64 h 72"/>
                    <a:gd name="T26" fmla="*/ 54 w 62"/>
                    <a:gd name="T27" fmla="*/ 69 h 72"/>
                    <a:gd name="T28" fmla="*/ 8 w 62"/>
                    <a:gd name="T29" fmla="*/ 69 h 72"/>
                    <a:gd name="T30" fmla="*/ 3 w 62"/>
                    <a:gd name="T31" fmla="*/ 64 h 72"/>
                    <a:gd name="T32" fmla="*/ 3 w 62"/>
                    <a:gd name="T33" fmla="*/ 8 h 72"/>
                    <a:gd name="T34" fmla="*/ 8 w 62"/>
                    <a:gd name="T35" fmla="*/ 3 h 72"/>
                    <a:gd name="T36" fmla="*/ 7 w 62"/>
                    <a:gd name="T37" fmla="*/ 62 h 72"/>
                    <a:gd name="T38" fmla="*/ 55 w 62"/>
                    <a:gd name="T39" fmla="*/ 62 h 72"/>
                    <a:gd name="T40" fmla="*/ 56 w 62"/>
                    <a:gd name="T41" fmla="*/ 61 h 72"/>
                    <a:gd name="T42" fmla="*/ 56 w 62"/>
                    <a:gd name="T43" fmla="*/ 7 h 72"/>
                    <a:gd name="T44" fmla="*/ 55 w 62"/>
                    <a:gd name="T45" fmla="*/ 6 h 72"/>
                    <a:gd name="T46" fmla="*/ 7 w 62"/>
                    <a:gd name="T47" fmla="*/ 6 h 72"/>
                    <a:gd name="T48" fmla="*/ 6 w 62"/>
                    <a:gd name="T49" fmla="*/ 7 h 72"/>
                    <a:gd name="T50" fmla="*/ 6 w 62"/>
                    <a:gd name="T51" fmla="*/ 61 h 72"/>
                    <a:gd name="T52" fmla="*/ 7 w 62"/>
                    <a:gd name="T53" fmla="*/ 62 h 72"/>
                    <a:gd name="T54" fmla="*/ 8 w 62"/>
                    <a:gd name="T55" fmla="*/ 8 h 72"/>
                    <a:gd name="T56" fmla="*/ 54 w 62"/>
                    <a:gd name="T57" fmla="*/ 8 h 72"/>
                    <a:gd name="T58" fmla="*/ 54 w 62"/>
                    <a:gd name="T59" fmla="*/ 60 h 72"/>
                    <a:gd name="T60" fmla="*/ 8 w 62"/>
                    <a:gd name="T61" fmla="*/ 60 h 72"/>
                    <a:gd name="T62" fmla="*/ 8 w 62"/>
                    <a:gd name="T63" fmla="*/ 8 h 72"/>
                    <a:gd name="T64" fmla="*/ 33 w 62"/>
                    <a:gd name="T65" fmla="*/ 66 h 72"/>
                    <a:gd name="T66" fmla="*/ 31 w 62"/>
                    <a:gd name="T67" fmla="*/ 68 h 72"/>
                    <a:gd name="T68" fmla="*/ 29 w 62"/>
                    <a:gd name="T69" fmla="*/ 66 h 72"/>
                    <a:gd name="T70" fmla="*/ 31 w 62"/>
                    <a:gd name="T71" fmla="*/ 64 h 72"/>
                    <a:gd name="T72" fmla="*/ 33 w 62"/>
                    <a:gd name="T7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2" h="72">
                      <a:moveTo>
                        <a:pt x="54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4" y="0"/>
                        <a:pt x="0" y="3"/>
                        <a:pt x="0" y="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8"/>
                        <a:pt x="4" y="72"/>
                        <a:pt x="8" y="72"/>
                      </a:cubicBezTo>
                      <a:cubicBezTo>
                        <a:pt x="54" y="72"/>
                        <a:pt x="54" y="72"/>
                        <a:pt x="54" y="72"/>
                      </a:cubicBezTo>
                      <a:cubicBezTo>
                        <a:pt x="58" y="72"/>
                        <a:pt x="62" y="68"/>
                        <a:pt x="62" y="64"/>
                      </a:cubicBezTo>
                      <a:cubicBezTo>
                        <a:pt x="62" y="8"/>
                        <a:pt x="62" y="8"/>
                        <a:pt x="62" y="8"/>
                      </a:cubicBezTo>
                      <a:cubicBezTo>
                        <a:pt x="62" y="3"/>
                        <a:pt x="58" y="0"/>
                        <a:pt x="54" y="0"/>
                      </a:cubicBezTo>
                      <a:close/>
                      <a:moveTo>
                        <a:pt x="8" y="3"/>
                      </a:moveTo>
                      <a:cubicBezTo>
                        <a:pt x="54" y="3"/>
                        <a:pt x="54" y="3"/>
                        <a:pt x="54" y="3"/>
                      </a:cubicBezTo>
                      <a:cubicBezTo>
                        <a:pt x="56" y="3"/>
                        <a:pt x="59" y="5"/>
                        <a:pt x="59" y="8"/>
                      </a:cubicBezTo>
                      <a:cubicBezTo>
                        <a:pt x="59" y="64"/>
                        <a:pt x="59" y="64"/>
                        <a:pt x="59" y="64"/>
                      </a:cubicBezTo>
                      <a:cubicBezTo>
                        <a:pt x="59" y="67"/>
                        <a:pt x="56" y="69"/>
                        <a:pt x="54" y="69"/>
                      </a:cubicBezTo>
                      <a:cubicBezTo>
                        <a:pt x="8" y="69"/>
                        <a:pt x="8" y="69"/>
                        <a:pt x="8" y="69"/>
                      </a:cubicBezTo>
                      <a:cubicBezTo>
                        <a:pt x="5" y="69"/>
                        <a:pt x="3" y="67"/>
                        <a:pt x="3" y="6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5"/>
                        <a:pt x="5" y="3"/>
                        <a:pt x="8" y="3"/>
                      </a:cubicBezTo>
                      <a:close/>
                      <a:moveTo>
                        <a:pt x="7" y="62"/>
                      </a:moveTo>
                      <a:cubicBezTo>
                        <a:pt x="55" y="62"/>
                        <a:pt x="55" y="62"/>
                        <a:pt x="55" y="62"/>
                      </a:cubicBezTo>
                      <a:cubicBezTo>
                        <a:pt x="55" y="62"/>
                        <a:pt x="56" y="61"/>
                        <a:pt x="56" y="61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6"/>
                        <a:pt x="55" y="6"/>
                        <a:pt x="55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6" y="6"/>
                        <a:pt x="6" y="7"/>
                      </a:cubicBezTo>
                      <a:cubicBezTo>
                        <a:pt x="6" y="61"/>
                        <a:pt x="6" y="61"/>
                        <a:pt x="6" y="61"/>
                      </a:cubicBezTo>
                      <a:cubicBezTo>
                        <a:pt x="6" y="61"/>
                        <a:pt x="7" y="62"/>
                        <a:pt x="7" y="62"/>
                      </a:cubicBezTo>
                      <a:close/>
                      <a:moveTo>
                        <a:pt x="8" y="8"/>
                      </a:move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60"/>
                        <a:pt x="54" y="60"/>
                        <a:pt x="54" y="60"/>
                      </a:cubicBezTo>
                      <a:cubicBezTo>
                        <a:pt x="8" y="60"/>
                        <a:pt x="8" y="60"/>
                        <a:pt x="8" y="60"/>
                      </a:cubicBezTo>
                      <a:lnTo>
                        <a:pt x="8" y="8"/>
                      </a:lnTo>
                      <a:close/>
                      <a:moveTo>
                        <a:pt x="33" y="66"/>
                      </a:moveTo>
                      <a:cubicBezTo>
                        <a:pt x="33" y="67"/>
                        <a:pt x="32" y="68"/>
                        <a:pt x="31" y="68"/>
                      </a:cubicBezTo>
                      <a:cubicBezTo>
                        <a:pt x="30" y="68"/>
                        <a:pt x="29" y="67"/>
                        <a:pt x="29" y="66"/>
                      </a:cubicBezTo>
                      <a:cubicBezTo>
                        <a:pt x="29" y="65"/>
                        <a:pt x="30" y="64"/>
                        <a:pt x="31" y="64"/>
                      </a:cubicBezTo>
                      <a:cubicBezTo>
                        <a:pt x="32" y="64"/>
                        <a:pt x="33" y="65"/>
                        <a:pt x="33" y="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8" name="Freeform 52">
                  <a:extLst>
                    <a:ext uri="{FF2B5EF4-FFF2-40B4-BE49-F238E27FC236}">
                      <a16:creationId xmlns:a16="http://schemas.microsoft.com/office/drawing/2014/main" id="{F052EB8A-B097-4680-A3DD-BDA27AD88C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90523" y="3450281"/>
                  <a:ext cx="306095" cy="287984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9" name="Freeform 85">
                  <a:extLst>
                    <a:ext uri="{FF2B5EF4-FFF2-40B4-BE49-F238E27FC236}">
                      <a16:creationId xmlns:a16="http://schemas.microsoft.com/office/drawing/2014/main" id="{2DEE6E2C-F91A-4BBA-B09A-651442C5DA6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38908" y="2516452"/>
                  <a:ext cx="337527" cy="253644"/>
                </a:xfrm>
                <a:custGeom>
                  <a:avLst/>
                  <a:gdLst>
                    <a:gd name="T0" fmla="*/ 53 w 71"/>
                    <a:gd name="T1" fmla="*/ 5 h 51"/>
                    <a:gd name="T2" fmla="*/ 0 w 71"/>
                    <a:gd name="T3" fmla="*/ 12 h 51"/>
                    <a:gd name="T4" fmla="*/ 8 w 71"/>
                    <a:gd name="T5" fmla="*/ 33 h 51"/>
                    <a:gd name="T6" fmla="*/ 12 w 71"/>
                    <a:gd name="T7" fmla="*/ 43 h 51"/>
                    <a:gd name="T8" fmla="*/ 46 w 71"/>
                    <a:gd name="T9" fmla="*/ 40 h 51"/>
                    <a:gd name="T10" fmla="*/ 11 w 71"/>
                    <a:gd name="T11" fmla="*/ 35 h 51"/>
                    <a:gd name="T12" fmla="*/ 48 w 71"/>
                    <a:gd name="T13" fmla="*/ 31 h 51"/>
                    <a:gd name="T14" fmla="*/ 56 w 71"/>
                    <a:gd name="T15" fmla="*/ 6 h 51"/>
                    <a:gd name="T16" fmla="*/ 71 w 71"/>
                    <a:gd name="T17" fmla="*/ 2 h 51"/>
                    <a:gd name="T18" fmla="*/ 45 w 71"/>
                    <a:gd name="T19" fmla="*/ 18 h 51"/>
                    <a:gd name="T20" fmla="*/ 49 w 71"/>
                    <a:gd name="T21" fmla="*/ 18 h 51"/>
                    <a:gd name="T22" fmla="*/ 45 w 71"/>
                    <a:gd name="T23" fmla="*/ 20 h 51"/>
                    <a:gd name="T24" fmla="*/ 9 w 71"/>
                    <a:gd name="T25" fmla="*/ 30 h 51"/>
                    <a:gd name="T26" fmla="*/ 12 w 71"/>
                    <a:gd name="T27" fmla="*/ 32 h 51"/>
                    <a:gd name="T28" fmla="*/ 28 w 71"/>
                    <a:gd name="T29" fmla="*/ 18 h 51"/>
                    <a:gd name="T30" fmla="*/ 35 w 71"/>
                    <a:gd name="T31" fmla="*/ 18 h 51"/>
                    <a:gd name="T32" fmla="*/ 43 w 71"/>
                    <a:gd name="T33" fmla="*/ 18 h 51"/>
                    <a:gd name="T34" fmla="*/ 28 w 71"/>
                    <a:gd name="T35" fmla="*/ 20 h 51"/>
                    <a:gd name="T36" fmla="*/ 28 w 71"/>
                    <a:gd name="T37" fmla="*/ 25 h 51"/>
                    <a:gd name="T38" fmla="*/ 21 w 71"/>
                    <a:gd name="T39" fmla="*/ 25 h 51"/>
                    <a:gd name="T40" fmla="*/ 26 w 71"/>
                    <a:gd name="T41" fmla="*/ 25 h 51"/>
                    <a:gd name="T42" fmla="*/ 20 w 71"/>
                    <a:gd name="T43" fmla="*/ 13 h 51"/>
                    <a:gd name="T44" fmla="*/ 18 w 71"/>
                    <a:gd name="T45" fmla="*/ 18 h 51"/>
                    <a:gd name="T46" fmla="*/ 18 w 71"/>
                    <a:gd name="T47" fmla="*/ 13 h 51"/>
                    <a:gd name="T48" fmla="*/ 19 w 71"/>
                    <a:gd name="T49" fmla="*/ 25 h 51"/>
                    <a:gd name="T50" fmla="*/ 18 w 71"/>
                    <a:gd name="T51" fmla="*/ 20 h 51"/>
                    <a:gd name="T52" fmla="*/ 5 w 71"/>
                    <a:gd name="T53" fmla="*/ 20 h 51"/>
                    <a:gd name="T54" fmla="*/ 13 w 71"/>
                    <a:gd name="T55" fmla="*/ 27 h 51"/>
                    <a:gd name="T56" fmla="*/ 14 w 71"/>
                    <a:gd name="T57" fmla="*/ 32 h 51"/>
                    <a:gd name="T58" fmla="*/ 26 w 71"/>
                    <a:gd name="T59" fmla="*/ 27 h 51"/>
                    <a:gd name="T60" fmla="*/ 21 w 71"/>
                    <a:gd name="T61" fmla="*/ 27 h 51"/>
                    <a:gd name="T62" fmla="*/ 33 w 71"/>
                    <a:gd name="T63" fmla="*/ 32 h 51"/>
                    <a:gd name="T64" fmla="*/ 36 w 71"/>
                    <a:gd name="T65" fmla="*/ 27 h 51"/>
                    <a:gd name="T66" fmla="*/ 35 w 71"/>
                    <a:gd name="T67" fmla="*/ 32 h 51"/>
                    <a:gd name="T68" fmla="*/ 37 w 71"/>
                    <a:gd name="T69" fmla="*/ 20 h 51"/>
                    <a:gd name="T70" fmla="*/ 36 w 71"/>
                    <a:gd name="T71" fmla="*/ 25 h 51"/>
                    <a:gd name="T72" fmla="*/ 9 w 71"/>
                    <a:gd name="T73" fmla="*/ 13 h 51"/>
                    <a:gd name="T74" fmla="*/ 3 w 71"/>
                    <a:gd name="T75" fmla="*/ 14 h 51"/>
                    <a:gd name="T76" fmla="*/ 42 w 71"/>
                    <a:gd name="T77" fmla="*/ 32 h 51"/>
                    <a:gd name="T78" fmla="*/ 46 w 71"/>
                    <a:gd name="T79" fmla="*/ 27 h 51"/>
                    <a:gd name="T80" fmla="*/ 13 w 71"/>
                    <a:gd name="T81" fmla="*/ 44 h 51"/>
                    <a:gd name="T82" fmla="*/ 17 w 71"/>
                    <a:gd name="T83" fmla="*/ 48 h 51"/>
                    <a:gd name="T84" fmla="*/ 12 w 71"/>
                    <a:gd name="T85" fmla="*/ 48 h 51"/>
                    <a:gd name="T86" fmla="*/ 13 w 71"/>
                    <a:gd name="T87" fmla="*/ 49 h 51"/>
                    <a:gd name="T88" fmla="*/ 40 w 71"/>
                    <a:gd name="T89" fmla="*/ 51 h 51"/>
                    <a:gd name="T90" fmla="*/ 40 w 71"/>
                    <a:gd name="T91" fmla="*/ 49 h 51"/>
                    <a:gd name="T92" fmla="*/ 42 w 71"/>
                    <a:gd name="T93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51">
                      <a:moveTo>
                        <a:pt x="70" y="0"/>
                      </a:move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6" y="0"/>
                        <a:pt x="54" y="2"/>
                        <a:pt x="53" y="5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2" y="10"/>
                        <a:pt x="1" y="11"/>
                        <a:pt x="0" y="12"/>
                      </a:cubicBezTo>
                      <a:cubicBezTo>
                        <a:pt x="0" y="13"/>
                        <a:pt x="0" y="14"/>
                        <a:pt x="0" y="16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7" y="32"/>
                        <a:pt x="7" y="32"/>
                        <a:pt x="8" y="33"/>
                      </a:cubicBezTo>
                      <a:cubicBezTo>
                        <a:pt x="8" y="33"/>
                        <a:pt x="8" y="33"/>
                        <a:pt x="8" y="34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8" y="41"/>
                        <a:pt x="10" y="43"/>
                        <a:pt x="12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7" y="42"/>
                        <a:pt x="47" y="41"/>
                      </a:cubicBezTo>
                      <a:cubicBezTo>
                        <a:pt x="47" y="41"/>
                        <a:pt x="46" y="40"/>
                        <a:pt x="46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1" y="40"/>
                        <a:pt x="11" y="39"/>
                        <a:pt x="11" y="38"/>
                      </a:cubicBezTo>
                      <a:cubicBezTo>
                        <a:pt x="11" y="35"/>
                        <a:pt x="11" y="35"/>
                        <a:pt x="11" y="35"/>
                      </a:cubicBezTo>
                      <a:cubicBezTo>
                        <a:pt x="11" y="35"/>
                        <a:pt x="12" y="35"/>
                        <a:pt x="12" y="35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5" y="35"/>
                        <a:pt x="47" y="33"/>
                        <a:pt x="48" y="31"/>
                      </a:cubicBezTo>
                      <a:cubicBezTo>
                        <a:pt x="54" y="13"/>
                        <a:pt x="54" y="13"/>
                        <a:pt x="54" y="13"/>
                      </a:cubicBezTo>
                      <a:cubicBezTo>
                        <a:pt x="54" y="13"/>
                        <a:pt x="54" y="12"/>
                        <a:pt x="54" y="12"/>
                      </a:cubicBezTo>
                      <a:cubicBezTo>
                        <a:pt x="56" y="6"/>
                        <a:pt x="56" y="6"/>
                        <a:pt x="56" y="6"/>
                      </a:cubicBezTo>
                      <a:cubicBezTo>
                        <a:pt x="56" y="4"/>
                        <a:pt x="58" y="3"/>
                        <a:pt x="59" y="3"/>
                      </a:cubicBezTo>
                      <a:cubicBezTo>
                        <a:pt x="70" y="3"/>
                        <a:pt x="70" y="3"/>
                        <a:pt x="70" y="3"/>
                      </a:cubicBezTo>
                      <a:cubicBezTo>
                        <a:pt x="70" y="3"/>
                        <a:pt x="71" y="3"/>
                        <a:pt x="71" y="2"/>
                      </a:cubicBezTo>
                      <a:cubicBezTo>
                        <a:pt x="71" y="1"/>
                        <a:pt x="70" y="0"/>
                        <a:pt x="70" y="0"/>
                      </a:cubicBezTo>
                      <a:close/>
                      <a:moveTo>
                        <a:pt x="49" y="18"/>
                      </a:move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50" y="13"/>
                        <a:pt x="50" y="13"/>
                        <a:pt x="50" y="13"/>
                      </a:cubicBezTo>
                      <a:lnTo>
                        <a:pt x="49" y="18"/>
                      </a:lnTo>
                      <a:close/>
                      <a:moveTo>
                        <a:pt x="47" y="25"/>
                      </a:move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lnTo>
                        <a:pt x="47" y="25"/>
                      </a:lnTo>
                      <a:close/>
                      <a:moveTo>
                        <a:pt x="9" y="30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1" y="32"/>
                        <a:pt x="10" y="31"/>
                        <a:pt x="9" y="30"/>
                      </a:cubicBezTo>
                      <a:close/>
                      <a:moveTo>
                        <a:pt x="35" y="18"/>
                      </a:move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lnTo>
                        <a:pt x="35" y="18"/>
                      </a:lnTo>
                      <a:close/>
                      <a:moveTo>
                        <a:pt x="37" y="13"/>
                      </a:move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lnTo>
                        <a:pt x="37" y="13"/>
                      </a:lnTo>
                      <a:close/>
                      <a:moveTo>
                        <a:pt x="28" y="20"/>
                      </a:moveTo>
                      <a:cubicBezTo>
                        <a:pt x="35" y="20"/>
                        <a:pt x="35" y="20"/>
                        <a:pt x="35" y="20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lnTo>
                        <a:pt x="28" y="20"/>
                      </a:lnTo>
                      <a:close/>
                      <a:moveTo>
                        <a:pt x="26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6" y="20"/>
                        <a:pt x="26" y="20"/>
                        <a:pt x="26" y="20"/>
                      </a:cubicBezTo>
                      <a:lnTo>
                        <a:pt x="26" y="25"/>
                      </a:lnTo>
                      <a:close/>
                      <a:moveTo>
                        <a:pt x="26" y="18"/>
                      </a:move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7" y="13"/>
                        <a:pt x="27" y="13"/>
                        <a:pt x="27" y="13"/>
                      </a:cubicBezTo>
                      <a:lnTo>
                        <a:pt x="26" y="18"/>
                      </a:lnTo>
                      <a:close/>
                      <a:moveTo>
                        <a:pt x="18" y="18"/>
                      </a:move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lnTo>
                        <a:pt x="18" y="18"/>
                      </a:lnTo>
                      <a:close/>
                      <a:moveTo>
                        <a:pt x="18" y="20"/>
                      </a:move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lnTo>
                        <a:pt x="18" y="20"/>
                      </a:lnTo>
                      <a:close/>
                      <a:moveTo>
                        <a:pt x="11" y="25"/>
                      </a:moveTo>
                      <a:cubicBezTo>
                        <a:pt x="7" y="25"/>
                        <a:pt x="7" y="25"/>
                        <a:pt x="7" y="2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lnTo>
                        <a:pt x="11" y="25"/>
                      </a:lnTo>
                      <a:close/>
                      <a:moveTo>
                        <a:pt x="13" y="27"/>
                      </a:move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9" y="32"/>
                        <a:pt x="19" y="32"/>
                        <a:pt x="19" y="32"/>
                      </a:cubicBezTo>
                      <a:cubicBezTo>
                        <a:pt x="14" y="32"/>
                        <a:pt x="14" y="32"/>
                        <a:pt x="14" y="32"/>
                      </a:cubicBezTo>
                      <a:lnTo>
                        <a:pt x="13" y="27"/>
                      </a:lnTo>
                      <a:close/>
                      <a:moveTo>
                        <a:pt x="21" y="27"/>
                      </a:move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32"/>
                        <a:pt x="26" y="32"/>
                        <a:pt x="26" y="32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lnTo>
                        <a:pt x="21" y="27"/>
                      </a:lnTo>
                      <a:close/>
                      <a:moveTo>
                        <a:pt x="28" y="27"/>
                      </a:move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lnTo>
                        <a:pt x="28" y="27"/>
                      </a:lnTo>
                      <a:close/>
                      <a:moveTo>
                        <a:pt x="36" y="27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lnTo>
                        <a:pt x="36" y="27"/>
                      </a:lnTo>
                      <a:close/>
                      <a:moveTo>
                        <a:pt x="36" y="25"/>
                      </a:move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25"/>
                        <a:pt x="42" y="25"/>
                        <a:pt x="42" y="25"/>
                      </a:cubicBezTo>
                      <a:lnTo>
                        <a:pt x="36" y="25"/>
                      </a:lnTo>
                      <a:close/>
                      <a:moveTo>
                        <a:pt x="4" y="13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3"/>
                        <a:pt x="3" y="13"/>
                        <a:pt x="4" y="13"/>
                      </a:cubicBezTo>
                      <a:close/>
                      <a:moveTo>
                        <a:pt x="42" y="32"/>
                      </a:move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5" y="30"/>
                        <a:pt x="45" y="30"/>
                        <a:pt x="45" y="30"/>
                      </a:cubicBezTo>
                      <a:cubicBezTo>
                        <a:pt x="45" y="31"/>
                        <a:pt x="43" y="32"/>
                        <a:pt x="42" y="32"/>
                      </a:cubicBezTo>
                      <a:close/>
                      <a:moveTo>
                        <a:pt x="13" y="44"/>
                      </a:moveTo>
                      <a:cubicBezTo>
                        <a:pt x="11" y="44"/>
                        <a:pt x="10" y="46"/>
                        <a:pt x="10" y="48"/>
                      </a:cubicBezTo>
                      <a:cubicBezTo>
                        <a:pt x="10" y="50"/>
                        <a:pt x="11" y="51"/>
                        <a:pt x="13" y="51"/>
                      </a:cubicBezTo>
                      <a:cubicBezTo>
                        <a:pt x="15" y="51"/>
                        <a:pt x="17" y="50"/>
                        <a:pt x="17" y="48"/>
                      </a:cubicBezTo>
                      <a:cubicBezTo>
                        <a:pt x="17" y="46"/>
                        <a:pt x="15" y="44"/>
                        <a:pt x="13" y="44"/>
                      </a:cubicBezTo>
                      <a:close/>
                      <a:moveTo>
                        <a:pt x="13" y="49"/>
                      </a:moveTo>
                      <a:cubicBezTo>
                        <a:pt x="13" y="49"/>
                        <a:pt x="12" y="48"/>
                        <a:pt x="12" y="48"/>
                      </a:cubicBezTo>
                      <a:cubicBezTo>
                        <a:pt x="12" y="47"/>
                        <a:pt x="13" y="46"/>
                        <a:pt x="13" y="46"/>
                      </a:cubicBezTo>
                      <a:cubicBezTo>
                        <a:pt x="14" y="46"/>
                        <a:pt x="15" y="47"/>
                        <a:pt x="15" y="48"/>
                      </a:cubicBezTo>
                      <a:cubicBezTo>
                        <a:pt x="15" y="48"/>
                        <a:pt x="14" y="49"/>
                        <a:pt x="13" y="49"/>
                      </a:cubicBezTo>
                      <a:close/>
                      <a:moveTo>
                        <a:pt x="40" y="44"/>
                      </a:moveTo>
                      <a:cubicBezTo>
                        <a:pt x="38" y="44"/>
                        <a:pt x="37" y="46"/>
                        <a:pt x="37" y="48"/>
                      </a:cubicBezTo>
                      <a:cubicBezTo>
                        <a:pt x="37" y="50"/>
                        <a:pt x="38" y="51"/>
                        <a:pt x="40" y="51"/>
                      </a:cubicBezTo>
                      <a:cubicBezTo>
                        <a:pt x="42" y="51"/>
                        <a:pt x="44" y="50"/>
                        <a:pt x="44" y="48"/>
                      </a:cubicBezTo>
                      <a:cubicBezTo>
                        <a:pt x="44" y="46"/>
                        <a:pt x="42" y="44"/>
                        <a:pt x="40" y="44"/>
                      </a:cubicBezTo>
                      <a:close/>
                      <a:moveTo>
                        <a:pt x="40" y="49"/>
                      </a:moveTo>
                      <a:cubicBezTo>
                        <a:pt x="39" y="49"/>
                        <a:pt x="39" y="48"/>
                        <a:pt x="39" y="48"/>
                      </a:cubicBezTo>
                      <a:cubicBezTo>
                        <a:pt x="39" y="47"/>
                        <a:pt x="39" y="46"/>
                        <a:pt x="40" y="46"/>
                      </a:cubicBezTo>
                      <a:cubicBezTo>
                        <a:pt x="41" y="46"/>
                        <a:pt x="42" y="47"/>
                        <a:pt x="42" y="48"/>
                      </a:cubicBezTo>
                      <a:cubicBezTo>
                        <a:pt x="42" y="48"/>
                        <a:pt x="41" y="49"/>
                        <a:pt x="40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0" name="Freeform 28">
                  <a:extLst>
                    <a:ext uri="{FF2B5EF4-FFF2-40B4-BE49-F238E27FC236}">
                      <a16:creationId xmlns:a16="http://schemas.microsoft.com/office/drawing/2014/main" id="{454D3207-5603-4C9E-A89C-84DFDCFCAF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37416" y="3912724"/>
                  <a:ext cx="399647" cy="324286"/>
                </a:xfrm>
                <a:custGeom>
                  <a:avLst/>
                  <a:gdLst>
                    <a:gd name="T0" fmla="*/ 26 w 74"/>
                    <a:gd name="T1" fmla="*/ 0 h 60"/>
                    <a:gd name="T2" fmla="*/ 19 w 74"/>
                    <a:gd name="T3" fmla="*/ 53 h 60"/>
                    <a:gd name="T4" fmla="*/ 49 w 74"/>
                    <a:gd name="T5" fmla="*/ 60 h 60"/>
                    <a:gd name="T6" fmla="*/ 56 w 74"/>
                    <a:gd name="T7" fmla="*/ 7 h 60"/>
                    <a:gd name="T8" fmla="*/ 53 w 74"/>
                    <a:gd name="T9" fmla="*/ 7 h 60"/>
                    <a:gd name="T10" fmla="*/ 49 w 74"/>
                    <a:gd name="T11" fmla="*/ 57 h 60"/>
                    <a:gd name="T12" fmla="*/ 22 w 74"/>
                    <a:gd name="T13" fmla="*/ 53 h 60"/>
                    <a:gd name="T14" fmla="*/ 26 w 74"/>
                    <a:gd name="T15" fmla="*/ 3 h 60"/>
                    <a:gd name="T16" fmla="*/ 53 w 74"/>
                    <a:gd name="T17" fmla="*/ 7 h 60"/>
                    <a:gd name="T18" fmla="*/ 25 w 74"/>
                    <a:gd name="T19" fmla="*/ 6 h 60"/>
                    <a:gd name="T20" fmla="*/ 24 w 74"/>
                    <a:gd name="T21" fmla="*/ 50 h 60"/>
                    <a:gd name="T22" fmla="*/ 50 w 74"/>
                    <a:gd name="T23" fmla="*/ 51 h 60"/>
                    <a:gd name="T24" fmla="*/ 51 w 74"/>
                    <a:gd name="T25" fmla="*/ 7 h 60"/>
                    <a:gd name="T26" fmla="*/ 49 w 74"/>
                    <a:gd name="T27" fmla="*/ 49 h 60"/>
                    <a:gd name="T28" fmla="*/ 26 w 74"/>
                    <a:gd name="T29" fmla="*/ 8 h 60"/>
                    <a:gd name="T30" fmla="*/ 49 w 74"/>
                    <a:gd name="T31" fmla="*/ 49 h 60"/>
                    <a:gd name="T32" fmla="*/ 37 w 74"/>
                    <a:gd name="T33" fmla="*/ 56 h 60"/>
                    <a:gd name="T34" fmla="*/ 37 w 74"/>
                    <a:gd name="T35" fmla="*/ 52 h 60"/>
                    <a:gd name="T36" fmla="*/ 74 w 74"/>
                    <a:gd name="T37" fmla="*/ 23 h 60"/>
                    <a:gd name="T38" fmla="*/ 67 w 74"/>
                    <a:gd name="T39" fmla="*/ 41 h 60"/>
                    <a:gd name="T40" fmla="*/ 66 w 74"/>
                    <a:gd name="T41" fmla="*/ 39 h 60"/>
                    <a:gd name="T42" fmla="*/ 66 w 74"/>
                    <a:gd name="T43" fmla="*/ 7 h 60"/>
                    <a:gd name="T44" fmla="*/ 68 w 74"/>
                    <a:gd name="T45" fmla="*/ 6 h 60"/>
                    <a:gd name="T46" fmla="*/ 69 w 74"/>
                    <a:gd name="T47" fmla="*/ 23 h 60"/>
                    <a:gd name="T48" fmla="*/ 64 w 74"/>
                    <a:gd name="T49" fmla="*/ 37 h 60"/>
                    <a:gd name="T50" fmla="*/ 63 w 74"/>
                    <a:gd name="T51" fmla="*/ 35 h 60"/>
                    <a:gd name="T52" fmla="*/ 63 w 74"/>
                    <a:gd name="T53" fmla="*/ 11 h 60"/>
                    <a:gd name="T54" fmla="*/ 65 w 74"/>
                    <a:gd name="T55" fmla="*/ 10 h 60"/>
                    <a:gd name="T56" fmla="*/ 64 w 74"/>
                    <a:gd name="T57" fmla="*/ 23 h 60"/>
                    <a:gd name="T58" fmla="*/ 60 w 74"/>
                    <a:gd name="T59" fmla="*/ 33 h 60"/>
                    <a:gd name="T60" fmla="*/ 60 w 74"/>
                    <a:gd name="T61" fmla="*/ 31 h 60"/>
                    <a:gd name="T62" fmla="*/ 60 w 74"/>
                    <a:gd name="T63" fmla="*/ 15 h 60"/>
                    <a:gd name="T64" fmla="*/ 61 w 74"/>
                    <a:gd name="T65" fmla="*/ 14 h 60"/>
                    <a:gd name="T66" fmla="*/ 8 w 74"/>
                    <a:gd name="T67" fmla="*/ 39 h 60"/>
                    <a:gd name="T68" fmla="*/ 7 w 74"/>
                    <a:gd name="T69" fmla="*/ 41 h 60"/>
                    <a:gd name="T70" fmla="*/ 0 w 74"/>
                    <a:gd name="T71" fmla="*/ 23 h 60"/>
                    <a:gd name="T72" fmla="*/ 8 w 74"/>
                    <a:gd name="T73" fmla="*/ 6 h 60"/>
                    <a:gd name="T74" fmla="*/ 2 w 74"/>
                    <a:gd name="T75" fmla="*/ 23 h 60"/>
                    <a:gd name="T76" fmla="*/ 12 w 74"/>
                    <a:gd name="T77" fmla="*/ 35 h 60"/>
                    <a:gd name="T78" fmla="*/ 11 w 74"/>
                    <a:gd name="T79" fmla="*/ 37 h 60"/>
                    <a:gd name="T80" fmla="*/ 6 w 74"/>
                    <a:gd name="T81" fmla="*/ 23 h 60"/>
                    <a:gd name="T82" fmla="*/ 11 w 74"/>
                    <a:gd name="T83" fmla="*/ 10 h 60"/>
                    <a:gd name="T84" fmla="*/ 8 w 74"/>
                    <a:gd name="T85" fmla="*/ 23 h 60"/>
                    <a:gd name="T86" fmla="*/ 15 w 74"/>
                    <a:gd name="T87" fmla="*/ 15 h 60"/>
                    <a:gd name="T88" fmla="*/ 15 w 74"/>
                    <a:gd name="T89" fmla="*/ 31 h 60"/>
                    <a:gd name="T90" fmla="*/ 14 w 74"/>
                    <a:gd name="T91" fmla="*/ 33 h 60"/>
                    <a:gd name="T92" fmla="*/ 11 w 74"/>
                    <a:gd name="T93" fmla="*/ 23 h 60"/>
                    <a:gd name="T94" fmla="*/ 15 w 74"/>
                    <a:gd name="T95" fmla="*/ 1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4" h="60">
                      <a:moveTo>
                        <a:pt x="49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2" y="0"/>
                        <a:pt x="19" y="3"/>
                        <a:pt x="19" y="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6"/>
                        <a:pt x="22" y="60"/>
                        <a:pt x="26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3" y="60"/>
                        <a:pt x="56" y="56"/>
                        <a:pt x="56" y="53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3"/>
                        <a:pt x="53" y="0"/>
                        <a:pt x="49" y="0"/>
                      </a:cubicBezTo>
                      <a:close/>
                      <a:moveTo>
                        <a:pt x="53" y="7"/>
                      </a:moveTo>
                      <a:cubicBezTo>
                        <a:pt x="53" y="53"/>
                        <a:pt x="53" y="53"/>
                        <a:pt x="53" y="53"/>
                      </a:cubicBezTo>
                      <a:cubicBezTo>
                        <a:pt x="53" y="55"/>
                        <a:pt x="51" y="57"/>
                        <a:pt x="49" y="57"/>
                      </a:cubicBezTo>
                      <a:cubicBezTo>
                        <a:pt x="26" y="57"/>
                        <a:pt x="26" y="57"/>
                        <a:pt x="26" y="57"/>
                      </a:cubicBezTo>
                      <a:cubicBezTo>
                        <a:pt x="24" y="57"/>
                        <a:pt x="22" y="55"/>
                        <a:pt x="22" y="53"/>
                      </a:cubicBezTo>
                      <a:cubicBezTo>
                        <a:pt x="22" y="7"/>
                        <a:pt x="22" y="7"/>
                        <a:pt x="22" y="7"/>
                      </a:cubicBezTo>
                      <a:cubicBezTo>
                        <a:pt x="22" y="5"/>
                        <a:pt x="24" y="3"/>
                        <a:pt x="26" y="3"/>
                      </a:cubicBezTo>
                      <a:cubicBezTo>
                        <a:pt x="49" y="3"/>
                        <a:pt x="49" y="3"/>
                        <a:pt x="49" y="3"/>
                      </a:cubicBezTo>
                      <a:cubicBezTo>
                        <a:pt x="51" y="3"/>
                        <a:pt x="53" y="5"/>
                        <a:pt x="53" y="7"/>
                      </a:cubicBezTo>
                      <a:close/>
                      <a:moveTo>
                        <a:pt x="50" y="6"/>
                      </a:move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4" y="6"/>
                        <a:pt x="24" y="6"/>
                        <a:pt x="24" y="7"/>
                      </a:cubicBezTo>
                      <a:cubicBezTo>
                        <a:pt x="24" y="50"/>
                        <a:pt x="24" y="50"/>
                        <a:pt x="24" y="50"/>
                      </a:cubicBezTo>
                      <a:cubicBezTo>
                        <a:pt x="24" y="51"/>
                        <a:pt x="24" y="51"/>
                        <a:pt x="25" y="51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50" y="51"/>
                        <a:pt x="51" y="51"/>
                        <a:pt x="51" y="50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51" y="6"/>
                        <a:pt x="50" y="6"/>
                        <a:pt x="50" y="6"/>
                      </a:cubicBezTo>
                      <a:close/>
                      <a:moveTo>
                        <a:pt x="49" y="49"/>
                      </a:move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49" y="8"/>
                        <a:pt x="49" y="8"/>
                        <a:pt x="49" y="8"/>
                      </a:cubicBezTo>
                      <a:lnTo>
                        <a:pt x="49" y="49"/>
                      </a:lnTo>
                      <a:close/>
                      <a:moveTo>
                        <a:pt x="39" y="54"/>
                      </a:moveTo>
                      <a:cubicBezTo>
                        <a:pt x="39" y="55"/>
                        <a:pt x="38" y="56"/>
                        <a:pt x="37" y="56"/>
                      </a:cubicBezTo>
                      <a:cubicBezTo>
                        <a:pt x="36" y="56"/>
                        <a:pt x="35" y="55"/>
                        <a:pt x="35" y="54"/>
                      </a:cubicBezTo>
                      <a:cubicBezTo>
                        <a:pt x="35" y="53"/>
                        <a:pt x="36" y="52"/>
                        <a:pt x="37" y="52"/>
                      </a:cubicBezTo>
                      <a:cubicBezTo>
                        <a:pt x="38" y="52"/>
                        <a:pt x="39" y="53"/>
                        <a:pt x="39" y="54"/>
                      </a:cubicBezTo>
                      <a:close/>
                      <a:moveTo>
                        <a:pt x="74" y="23"/>
                      </a:moveTo>
                      <a:cubicBezTo>
                        <a:pt x="74" y="30"/>
                        <a:pt x="72" y="36"/>
                        <a:pt x="68" y="41"/>
                      </a:cubicBezTo>
                      <a:cubicBezTo>
                        <a:pt x="68" y="41"/>
                        <a:pt x="67" y="41"/>
                        <a:pt x="67" y="41"/>
                      </a:cubicBezTo>
                      <a:cubicBezTo>
                        <a:pt x="67" y="41"/>
                        <a:pt x="67" y="41"/>
                        <a:pt x="67" y="41"/>
                      </a:cubicBezTo>
                      <a:cubicBezTo>
                        <a:pt x="66" y="40"/>
                        <a:pt x="66" y="40"/>
                        <a:pt x="66" y="39"/>
                      </a:cubicBezTo>
                      <a:cubicBezTo>
                        <a:pt x="70" y="35"/>
                        <a:pt x="72" y="29"/>
                        <a:pt x="72" y="23"/>
                      </a:cubicBezTo>
                      <a:cubicBezTo>
                        <a:pt x="72" y="17"/>
                        <a:pt x="70" y="12"/>
                        <a:pt x="66" y="7"/>
                      </a:cubicBezTo>
                      <a:cubicBezTo>
                        <a:pt x="66" y="7"/>
                        <a:pt x="66" y="6"/>
                        <a:pt x="67" y="6"/>
                      </a:cubicBezTo>
                      <a:cubicBezTo>
                        <a:pt x="67" y="5"/>
                        <a:pt x="68" y="6"/>
                        <a:pt x="68" y="6"/>
                      </a:cubicBezTo>
                      <a:cubicBezTo>
                        <a:pt x="72" y="11"/>
                        <a:pt x="74" y="17"/>
                        <a:pt x="74" y="23"/>
                      </a:cubicBezTo>
                      <a:close/>
                      <a:moveTo>
                        <a:pt x="69" y="23"/>
                      </a:moveTo>
                      <a:cubicBezTo>
                        <a:pt x="69" y="28"/>
                        <a:pt x="67" y="33"/>
                        <a:pt x="65" y="36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cubicBezTo>
                        <a:pt x="64" y="37"/>
                        <a:pt x="63" y="37"/>
                        <a:pt x="63" y="37"/>
                      </a:cubicBezTo>
                      <a:cubicBezTo>
                        <a:pt x="63" y="36"/>
                        <a:pt x="63" y="36"/>
                        <a:pt x="63" y="35"/>
                      </a:cubicBezTo>
                      <a:cubicBezTo>
                        <a:pt x="66" y="32"/>
                        <a:pt x="67" y="28"/>
                        <a:pt x="67" y="23"/>
                      </a:cubicBezTo>
                      <a:cubicBezTo>
                        <a:pt x="67" y="19"/>
                        <a:pt x="66" y="15"/>
                        <a:pt x="63" y="11"/>
                      </a:cubicBezTo>
                      <a:cubicBezTo>
                        <a:pt x="63" y="11"/>
                        <a:pt x="63" y="10"/>
                        <a:pt x="63" y="10"/>
                      </a:cubicBezTo>
                      <a:cubicBezTo>
                        <a:pt x="64" y="10"/>
                        <a:pt x="64" y="10"/>
                        <a:pt x="65" y="10"/>
                      </a:cubicBezTo>
                      <a:cubicBezTo>
                        <a:pt x="67" y="14"/>
                        <a:pt x="69" y="19"/>
                        <a:pt x="69" y="23"/>
                      </a:cubicBezTo>
                      <a:close/>
                      <a:moveTo>
                        <a:pt x="64" y="23"/>
                      </a:moveTo>
                      <a:cubicBezTo>
                        <a:pt x="64" y="26"/>
                        <a:pt x="63" y="29"/>
                        <a:pt x="61" y="32"/>
                      </a:cubicBezTo>
                      <a:cubicBezTo>
                        <a:pt x="61" y="32"/>
                        <a:pt x="61" y="33"/>
                        <a:pt x="60" y="33"/>
                      </a:cubicBezTo>
                      <a:cubicBezTo>
                        <a:pt x="60" y="33"/>
                        <a:pt x="60" y="33"/>
                        <a:pt x="60" y="33"/>
                      </a:cubicBezTo>
                      <a:cubicBezTo>
                        <a:pt x="59" y="32"/>
                        <a:pt x="59" y="32"/>
                        <a:pt x="60" y="31"/>
                      </a:cubicBezTo>
                      <a:cubicBezTo>
                        <a:pt x="61" y="29"/>
                        <a:pt x="62" y="26"/>
                        <a:pt x="62" y="23"/>
                      </a:cubicBezTo>
                      <a:cubicBezTo>
                        <a:pt x="62" y="21"/>
                        <a:pt x="61" y="18"/>
                        <a:pt x="60" y="15"/>
                      </a:cubicBezTo>
                      <a:cubicBezTo>
                        <a:pt x="59" y="15"/>
                        <a:pt x="59" y="14"/>
                        <a:pt x="60" y="14"/>
                      </a:cubicBezTo>
                      <a:cubicBezTo>
                        <a:pt x="60" y="14"/>
                        <a:pt x="61" y="14"/>
                        <a:pt x="61" y="14"/>
                      </a:cubicBezTo>
                      <a:cubicBezTo>
                        <a:pt x="63" y="17"/>
                        <a:pt x="64" y="20"/>
                        <a:pt x="64" y="23"/>
                      </a:cubicBezTo>
                      <a:close/>
                      <a:moveTo>
                        <a:pt x="8" y="39"/>
                      </a:moveTo>
                      <a:cubicBezTo>
                        <a:pt x="9" y="40"/>
                        <a:pt x="8" y="40"/>
                        <a:pt x="8" y="41"/>
                      </a:cubicBezTo>
                      <a:cubicBezTo>
                        <a:pt x="8" y="41"/>
                        <a:pt x="8" y="41"/>
                        <a:pt x="7" y="41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3" y="36"/>
                        <a:pt x="0" y="30"/>
                        <a:pt x="0" y="23"/>
                      </a:cubicBezTo>
                      <a:cubicBezTo>
                        <a:pt x="0" y="17"/>
                        <a:pt x="3" y="11"/>
                        <a:pt x="7" y="6"/>
                      </a:cubicBezTo>
                      <a:cubicBezTo>
                        <a:pt x="7" y="6"/>
                        <a:pt x="8" y="5"/>
                        <a:pt x="8" y="6"/>
                      </a:cubicBezTo>
                      <a:cubicBezTo>
                        <a:pt x="8" y="6"/>
                        <a:pt x="9" y="7"/>
                        <a:pt x="8" y="7"/>
                      </a:cubicBezTo>
                      <a:cubicBezTo>
                        <a:pt x="5" y="12"/>
                        <a:pt x="2" y="17"/>
                        <a:pt x="2" y="23"/>
                      </a:cubicBezTo>
                      <a:cubicBezTo>
                        <a:pt x="2" y="29"/>
                        <a:pt x="5" y="35"/>
                        <a:pt x="8" y="39"/>
                      </a:cubicBezTo>
                      <a:close/>
                      <a:moveTo>
                        <a:pt x="12" y="35"/>
                      </a:moveTo>
                      <a:cubicBezTo>
                        <a:pt x="12" y="36"/>
                        <a:pt x="12" y="36"/>
                        <a:pt x="11" y="37"/>
                      </a:cubicBezTo>
                      <a:cubicBezTo>
                        <a:pt x="11" y="37"/>
                        <a:pt x="11" y="37"/>
                        <a:pt x="11" y="37"/>
                      </a:cubicBezTo>
                      <a:cubicBezTo>
                        <a:pt x="10" y="37"/>
                        <a:pt x="10" y="37"/>
                        <a:pt x="10" y="36"/>
                      </a:cubicBezTo>
                      <a:cubicBezTo>
                        <a:pt x="7" y="33"/>
                        <a:pt x="6" y="28"/>
                        <a:pt x="6" y="23"/>
                      </a:cubicBezTo>
                      <a:cubicBezTo>
                        <a:pt x="6" y="19"/>
                        <a:pt x="7" y="14"/>
                        <a:pt x="10" y="10"/>
                      </a:cubicBezTo>
                      <a:cubicBezTo>
                        <a:pt x="10" y="10"/>
                        <a:pt x="11" y="10"/>
                        <a:pt x="11" y="10"/>
                      </a:cubicBezTo>
                      <a:cubicBezTo>
                        <a:pt x="12" y="10"/>
                        <a:pt x="12" y="11"/>
                        <a:pt x="12" y="11"/>
                      </a:cubicBezTo>
                      <a:cubicBezTo>
                        <a:pt x="9" y="15"/>
                        <a:pt x="8" y="19"/>
                        <a:pt x="8" y="23"/>
                      </a:cubicBezTo>
                      <a:cubicBezTo>
                        <a:pt x="8" y="28"/>
                        <a:pt x="9" y="32"/>
                        <a:pt x="12" y="35"/>
                      </a:cubicBezTo>
                      <a:close/>
                      <a:moveTo>
                        <a:pt x="15" y="15"/>
                      </a:moveTo>
                      <a:cubicBezTo>
                        <a:pt x="14" y="18"/>
                        <a:pt x="13" y="21"/>
                        <a:pt x="13" y="23"/>
                      </a:cubicBezTo>
                      <a:cubicBezTo>
                        <a:pt x="13" y="26"/>
                        <a:pt x="14" y="29"/>
                        <a:pt x="15" y="31"/>
                      </a:cubicBezTo>
                      <a:cubicBezTo>
                        <a:pt x="15" y="32"/>
                        <a:pt x="15" y="32"/>
                        <a:pt x="15" y="33"/>
                      </a:cubicBezTo>
                      <a:cubicBezTo>
                        <a:pt x="15" y="33"/>
                        <a:pt x="14" y="33"/>
                        <a:pt x="14" y="33"/>
                      </a:cubicBezTo>
                      <a:cubicBezTo>
                        <a:pt x="14" y="33"/>
                        <a:pt x="14" y="32"/>
                        <a:pt x="13" y="32"/>
                      </a:cubicBezTo>
                      <a:cubicBezTo>
                        <a:pt x="12" y="29"/>
                        <a:pt x="11" y="26"/>
                        <a:pt x="11" y="23"/>
                      </a:cubicBezTo>
                      <a:cubicBezTo>
                        <a:pt x="11" y="20"/>
                        <a:pt x="12" y="17"/>
                        <a:pt x="13" y="14"/>
                      </a:cubicBezTo>
                      <a:cubicBezTo>
                        <a:pt x="14" y="14"/>
                        <a:pt x="14" y="14"/>
                        <a:pt x="15" y="14"/>
                      </a:cubicBezTo>
                      <a:cubicBezTo>
                        <a:pt x="15" y="14"/>
                        <a:pt x="15" y="15"/>
                        <a:pt x="15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1" name="Freeform 15">
                  <a:extLst>
                    <a:ext uri="{FF2B5EF4-FFF2-40B4-BE49-F238E27FC236}">
                      <a16:creationId xmlns:a16="http://schemas.microsoft.com/office/drawing/2014/main" id="{66E1D55A-B245-424F-B4B6-668A2E9BD7D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00165" y="3107567"/>
                  <a:ext cx="428644" cy="305865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2" name="Freeform 15">
                  <a:extLst>
                    <a:ext uri="{FF2B5EF4-FFF2-40B4-BE49-F238E27FC236}">
                      <a16:creationId xmlns:a16="http://schemas.microsoft.com/office/drawing/2014/main" id="{4E03D020-39E5-4905-8C8E-9BB1CD244E7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13482" y="4480515"/>
                  <a:ext cx="376270" cy="268493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3" name="Freeform 26">
                  <a:extLst>
                    <a:ext uri="{FF2B5EF4-FFF2-40B4-BE49-F238E27FC236}">
                      <a16:creationId xmlns:a16="http://schemas.microsoft.com/office/drawing/2014/main" id="{F236D8BA-4671-49AF-9DC8-C041A75E7C5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38222" y="2271782"/>
                  <a:ext cx="323243" cy="340955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4" name="Freeform 27">
                  <a:extLst>
                    <a:ext uri="{FF2B5EF4-FFF2-40B4-BE49-F238E27FC236}">
                      <a16:creationId xmlns:a16="http://schemas.microsoft.com/office/drawing/2014/main" id="{5FCE5E09-DF17-4ED1-A3C5-FF8E789FC47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51851" y="2089846"/>
                  <a:ext cx="385943" cy="38594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5" name="Freeform 16">
                  <a:extLst>
                    <a:ext uri="{FF2B5EF4-FFF2-40B4-BE49-F238E27FC236}">
                      <a16:creationId xmlns:a16="http://schemas.microsoft.com/office/drawing/2014/main" id="{F38BDC71-A2F9-4A0E-BD69-BA059B2ACB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08559" y="1717795"/>
                  <a:ext cx="315706" cy="348087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6" name="Freeform 62">
                  <a:extLst>
                    <a:ext uri="{FF2B5EF4-FFF2-40B4-BE49-F238E27FC236}">
                      <a16:creationId xmlns:a16="http://schemas.microsoft.com/office/drawing/2014/main" id="{8B6C7BC5-42C2-41EE-9AE4-8EEA1026ABF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75182" y="3543823"/>
                  <a:ext cx="292609" cy="338210"/>
                </a:xfrm>
                <a:custGeom>
                  <a:avLst/>
                  <a:gdLst>
                    <a:gd name="T0" fmla="*/ 54 w 62"/>
                    <a:gd name="T1" fmla="*/ 0 h 72"/>
                    <a:gd name="T2" fmla="*/ 8 w 62"/>
                    <a:gd name="T3" fmla="*/ 0 h 72"/>
                    <a:gd name="T4" fmla="*/ 0 w 62"/>
                    <a:gd name="T5" fmla="*/ 8 h 72"/>
                    <a:gd name="T6" fmla="*/ 0 w 62"/>
                    <a:gd name="T7" fmla="*/ 64 h 72"/>
                    <a:gd name="T8" fmla="*/ 8 w 62"/>
                    <a:gd name="T9" fmla="*/ 72 h 72"/>
                    <a:gd name="T10" fmla="*/ 54 w 62"/>
                    <a:gd name="T11" fmla="*/ 72 h 72"/>
                    <a:gd name="T12" fmla="*/ 62 w 62"/>
                    <a:gd name="T13" fmla="*/ 64 h 72"/>
                    <a:gd name="T14" fmla="*/ 62 w 62"/>
                    <a:gd name="T15" fmla="*/ 8 h 72"/>
                    <a:gd name="T16" fmla="*/ 54 w 62"/>
                    <a:gd name="T17" fmla="*/ 0 h 72"/>
                    <a:gd name="T18" fmla="*/ 8 w 62"/>
                    <a:gd name="T19" fmla="*/ 3 h 72"/>
                    <a:gd name="T20" fmla="*/ 54 w 62"/>
                    <a:gd name="T21" fmla="*/ 3 h 72"/>
                    <a:gd name="T22" fmla="*/ 59 w 62"/>
                    <a:gd name="T23" fmla="*/ 8 h 72"/>
                    <a:gd name="T24" fmla="*/ 59 w 62"/>
                    <a:gd name="T25" fmla="*/ 64 h 72"/>
                    <a:gd name="T26" fmla="*/ 54 w 62"/>
                    <a:gd name="T27" fmla="*/ 69 h 72"/>
                    <a:gd name="T28" fmla="*/ 8 w 62"/>
                    <a:gd name="T29" fmla="*/ 69 h 72"/>
                    <a:gd name="T30" fmla="*/ 3 w 62"/>
                    <a:gd name="T31" fmla="*/ 64 h 72"/>
                    <a:gd name="T32" fmla="*/ 3 w 62"/>
                    <a:gd name="T33" fmla="*/ 8 h 72"/>
                    <a:gd name="T34" fmla="*/ 8 w 62"/>
                    <a:gd name="T35" fmla="*/ 3 h 72"/>
                    <a:gd name="T36" fmla="*/ 7 w 62"/>
                    <a:gd name="T37" fmla="*/ 62 h 72"/>
                    <a:gd name="T38" fmla="*/ 55 w 62"/>
                    <a:gd name="T39" fmla="*/ 62 h 72"/>
                    <a:gd name="T40" fmla="*/ 56 w 62"/>
                    <a:gd name="T41" fmla="*/ 61 h 72"/>
                    <a:gd name="T42" fmla="*/ 56 w 62"/>
                    <a:gd name="T43" fmla="*/ 7 h 72"/>
                    <a:gd name="T44" fmla="*/ 55 w 62"/>
                    <a:gd name="T45" fmla="*/ 6 h 72"/>
                    <a:gd name="T46" fmla="*/ 7 w 62"/>
                    <a:gd name="T47" fmla="*/ 6 h 72"/>
                    <a:gd name="T48" fmla="*/ 6 w 62"/>
                    <a:gd name="T49" fmla="*/ 7 h 72"/>
                    <a:gd name="T50" fmla="*/ 6 w 62"/>
                    <a:gd name="T51" fmla="*/ 61 h 72"/>
                    <a:gd name="T52" fmla="*/ 7 w 62"/>
                    <a:gd name="T53" fmla="*/ 62 h 72"/>
                    <a:gd name="T54" fmla="*/ 8 w 62"/>
                    <a:gd name="T55" fmla="*/ 8 h 72"/>
                    <a:gd name="T56" fmla="*/ 54 w 62"/>
                    <a:gd name="T57" fmla="*/ 8 h 72"/>
                    <a:gd name="T58" fmla="*/ 54 w 62"/>
                    <a:gd name="T59" fmla="*/ 60 h 72"/>
                    <a:gd name="T60" fmla="*/ 8 w 62"/>
                    <a:gd name="T61" fmla="*/ 60 h 72"/>
                    <a:gd name="T62" fmla="*/ 8 w 62"/>
                    <a:gd name="T63" fmla="*/ 8 h 72"/>
                    <a:gd name="T64" fmla="*/ 33 w 62"/>
                    <a:gd name="T65" fmla="*/ 66 h 72"/>
                    <a:gd name="T66" fmla="*/ 31 w 62"/>
                    <a:gd name="T67" fmla="*/ 68 h 72"/>
                    <a:gd name="T68" fmla="*/ 29 w 62"/>
                    <a:gd name="T69" fmla="*/ 66 h 72"/>
                    <a:gd name="T70" fmla="*/ 31 w 62"/>
                    <a:gd name="T71" fmla="*/ 64 h 72"/>
                    <a:gd name="T72" fmla="*/ 33 w 62"/>
                    <a:gd name="T7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2" h="72">
                      <a:moveTo>
                        <a:pt x="54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4" y="0"/>
                        <a:pt x="0" y="3"/>
                        <a:pt x="0" y="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8"/>
                        <a:pt x="4" y="72"/>
                        <a:pt x="8" y="72"/>
                      </a:cubicBezTo>
                      <a:cubicBezTo>
                        <a:pt x="54" y="72"/>
                        <a:pt x="54" y="72"/>
                        <a:pt x="54" y="72"/>
                      </a:cubicBezTo>
                      <a:cubicBezTo>
                        <a:pt x="58" y="72"/>
                        <a:pt x="62" y="68"/>
                        <a:pt x="62" y="64"/>
                      </a:cubicBezTo>
                      <a:cubicBezTo>
                        <a:pt x="62" y="8"/>
                        <a:pt x="62" y="8"/>
                        <a:pt x="62" y="8"/>
                      </a:cubicBezTo>
                      <a:cubicBezTo>
                        <a:pt x="62" y="3"/>
                        <a:pt x="58" y="0"/>
                        <a:pt x="54" y="0"/>
                      </a:cubicBezTo>
                      <a:close/>
                      <a:moveTo>
                        <a:pt x="8" y="3"/>
                      </a:moveTo>
                      <a:cubicBezTo>
                        <a:pt x="54" y="3"/>
                        <a:pt x="54" y="3"/>
                        <a:pt x="54" y="3"/>
                      </a:cubicBezTo>
                      <a:cubicBezTo>
                        <a:pt x="56" y="3"/>
                        <a:pt x="59" y="5"/>
                        <a:pt x="59" y="8"/>
                      </a:cubicBezTo>
                      <a:cubicBezTo>
                        <a:pt x="59" y="64"/>
                        <a:pt x="59" y="64"/>
                        <a:pt x="59" y="64"/>
                      </a:cubicBezTo>
                      <a:cubicBezTo>
                        <a:pt x="59" y="67"/>
                        <a:pt x="56" y="69"/>
                        <a:pt x="54" y="69"/>
                      </a:cubicBezTo>
                      <a:cubicBezTo>
                        <a:pt x="8" y="69"/>
                        <a:pt x="8" y="69"/>
                        <a:pt x="8" y="69"/>
                      </a:cubicBezTo>
                      <a:cubicBezTo>
                        <a:pt x="5" y="69"/>
                        <a:pt x="3" y="67"/>
                        <a:pt x="3" y="6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5"/>
                        <a:pt x="5" y="3"/>
                        <a:pt x="8" y="3"/>
                      </a:cubicBezTo>
                      <a:close/>
                      <a:moveTo>
                        <a:pt x="7" y="62"/>
                      </a:moveTo>
                      <a:cubicBezTo>
                        <a:pt x="55" y="62"/>
                        <a:pt x="55" y="62"/>
                        <a:pt x="55" y="62"/>
                      </a:cubicBezTo>
                      <a:cubicBezTo>
                        <a:pt x="55" y="62"/>
                        <a:pt x="56" y="61"/>
                        <a:pt x="56" y="61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6"/>
                        <a:pt x="55" y="6"/>
                        <a:pt x="55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6" y="6"/>
                        <a:pt x="6" y="7"/>
                      </a:cubicBezTo>
                      <a:cubicBezTo>
                        <a:pt x="6" y="61"/>
                        <a:pt x="6" y="61"/>
                        <a:pt x="6" y="61"/>
                      </a:cubicBezTo>
                      <a:cubicBezTo>
                        <a:pt x="6" y="61"/>
                        <a:pt x="7" y="62"/>
                        <a:pt x="7" y="62"/>
                      </a:cubicBezTo>
                      <a:close/>
                      <a:moveTo>
                        <a:pt x="8" y="8"/>
                      </a:move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60"/>
                        <a:pt x="54" y="60"/>
                        <a:pt x="54" y="60"/>
                      </a:cubicBezTo>
                      <a:cubicBezTo>
                        <a:pt x="8" y="60"/>
                        <a:pt x="8" y="60"/>
                        <a:pt x="8" y="60"/>
                      </a:cubicBezTo>
                      <a:lnTo>
                        <a:pt x="8" y="8"/>
                      </a:lnTo>
                      <a:close/>
                      <a:moveTo>
                        <a:pt x="33" y="66"/>
                      </a:moveTo>
                      <a:cubicBezTo>
                        <a:pt x="33" y="67"/>
                        <a:pt x="32" y="68"/>
                        <a:pt x="31" y="68"/>
                      </a:cubicBezTo>
                      <a:cubicBezTo>
                        <a:pt x="30" y="68"/>
                        <a:pt x="29" y="67"/>
                        <a:pt x="29" y="66"/>
                      </a:cubicBezTo>
                      <a:cubicBezTo>
                        <a:pt x="29" y="65"/>
                        <a:pt x="30" y="64"/>
                        <a:pt x="31" y="64"/>
                      </a:cubicBezTo>
                      <a:cubicBezTo>
                        <a:pt x="32" y="64"/>
                        <a:pt x="33" y="65"/>
                        <a:pt x="33" y="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7" name="Freeform 15">
                  <a:extLst>
                    <a:ext uri="{FF2B5EF4-FFF2-40B4-BE49-F238E27FC236}">
                      <a16:creationId xmlns:a16="http://schemas.microsoft.com/office/drawing/2014/main" id="{335823C5-5563-489B-8C74-5D31E1ACD3C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59828" y="2887534"/>
                  <a:ext cx="428644" cy="305865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8" name="Freeform 14">
                  <a:extLst>
                    <a:ext uri="{FF2B5EF4-FFF2-40B4-BE49-F238E27FC236}">
                      <a16:creationId xmlns:a16="http://schemas.microsoft.com/office/drawing/2014/main" id="{D4784CD5-C12C-4D7C-B54F-1A13D94E88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01839" y="2896569"/>
                  <a:ext cx="331940" cy="387265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9" name="Freeform 32">
                  <a:extLst>
                    <a:ext uri="{FF2B5EF4-FFF2-40B4-BE49-F238E27FC236}">
                      <a16:creationId xmlns:a16="http://schemas.microsoft.com/office/drawing/2014/main" id="{CE750E46-DAE7-4530-9B08-2DA0CD3D54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01010" y="4288055"/>
                  <a:ext cx="385943" cy="38594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0" name="Freeform 41">
                  <a:extLst>
                    <a:ext uri="{FF2B5EF4-FFF2-40B4-BE49-F238E27FC236}">
                      <a16:creationId xmlns:a16="http://schemas.microsoft.com/office/drawing/2014/main" id="{FBE10CB7-EE17-4042-A0B3-892397F3A8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72332" y="2034995"/>
                  <a:ext cx="397043" cy="383809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1" name="Freeform 41">
                  <a:extLst>
                    <a:ext uri="{FF2B5EF4-FFF2-40B4-BE49-F238E27FC236}">
                      <a16:creationId xmlns:a16="http://schemas.microsoft.com/office/drawing/2014/main" id="{D90F5BC2-0095-472B-84F6-069A499778A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319804" y="5173856"/>
                  <a:ext cx="397043" cy="383809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2" name="Freeform 35">
                  <a:extLst>
                    <a:ext uri="{FF2B5EF4-FFF2-40B4-BE49-F238E27FC236}">
                      <a16:creationId xmlns:a16="http://schemas.microsoft.com/office/drawing/2014/main" id="{C2529A0F-6E8A-41CB-B8F4-1E5AB8227C7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866024" y="4675976"/>
                  <a:ext cx="315253" cy="315255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3" name="Freeform 14">
                  <a:extLst>
                    <a:ext uri="{FF2B5EF4-FFF2-40B4-BE49-F238E27FC236}">
                      <a16:creationId xmlns:a16="http://schemas.microsoft.com/office/drawing/2014/main" id="{148FD96D-E12E-4F35-8E92-46D17E8300F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24968" y="3698332"/>
                  <a:ext cx="280525" cy="327280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4" name="Freeform 37">
                  <a:extLst>
                    <a:ext uri="{FF2B5EF4-FFF2-40B4-BE49-F238E27FC236}">
                      <a16:creationId xmlns:a16="http://schemas.microsoft.com/office/drawing/2014/main" id="{E2619EA5-CED7-4C19-8E5F-10DBC58B02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06314" y="4096824"/>
                  <a:ext cx="218436" cy="214390"/>
                </a:xfrm>
                <a:custGeom>
                  <a:avLst/>
                  <a:gdLst>
                    <a:gd name="T0" fmla="*/ 12 w 68"/>
                    <a:gd name="T1" fmla="*/ 0 h 67"/>
                    <a:gd name="T2" fmla="*/ 0 w 68"/>
                    <a:gd name="T3" fmla="*/ 56 h 67"/>
                    <a:gd name="T4" fmla="*/ 57 w 68"/>
                    <a:gd name="T5" fmla="*/ 67 h 67"/>
                    <a:gd name="T6" fmla="*/ 68 w 68"/>
                    <a:gd name="T7" fmla="*/ 11 h 67"/>
                    <a:gd name="T8" fmla="*/ 65 w 68"/>
                    <a:gd name="T9" fmla="*/ 11 h 67"/>
                    <a:gd name="T10" fmla="*/ 57 w 68"/>
                    <a:gd name="T11" fmla="*/ 64 h 67"/>
                    <a:gd name="T12" fmla="*/ 3 w 68"/>
                    <a:gd name="T13" fmla="*/ 56 h 67"/>
                    <a:gd name="T14" fmla="*/ 12 w 68"/>
                    <a:gd name="T15" fmla="*/ 3 h 67"/>
                    <a:gd name="T16" fmla="*/ 65 w 68"/>
                    <a:gd name="T17" fmla="*/ 11 h 67"/>
                    <a:gd name="T18" fmla="*/ 12 w 68"/>
                    <a:gd name="T19" fmla="*/ 5 h 67"/>
                    <a:gd name="T20" fmla="*/ 6 w 68"/>
                    <a:gd name="T21" fmla="*/ 56 h 67"/>
                    <a:gd name="T22" fmla="*/ 56 w 68"/>
                    <a:gd name="T23" fmla="*/ 62 h 67"/>
                    <a:gd name="T24" fmla="*/ 63 w 68"/>
                    <a:gd name="T25" fmla="*/ 12 h 67"/>
                    <a:gd name="T26" fmla="*/ 61 w 68"/>
                    <a:gd name="T27" fmla="*/ 12 h 67"/>
                    <a:gd name="T28" fmla="*/ 35 w 68"/>
                    <a:gd name="T29" fmla="*/ 33 h 67"/>
                    <a:gd name="T30" fmla="*/ 56 w 68"/>
                    <a:gd name="T31" fmla="*/ 7 h 67"/>
                    <a:gd name="T32" fmla="*/ 12 w 68"/>
                    <a:gd name="T33" fmla="*/ 7 h 67"/>
                    <a:gd name="T34" fmla="*/ 33 w 68"/>
                    <a:gd name="T35" fmla="*/ 33 h 67"/>
                    <a:gd name="T36" fmla="*/ 8 w 68"/>
                    <a:gd name="T37" fmla="*/ 12 h 67"/>
                    <a:gd name="T38" fmla="*/ 8 w 68"/>
                    <a:gd name="T39" fmla="*/ 56 h 67"/>
                    <a:gd name="T40" fmla="*/ 33 w 68"/>
                    <a:gd name="T41" fmla="*/ 35 h 67"/>
                    <a:gd name="T42" fmla="*/ 12 w 68"/>
                    <a:gd name="T43" fmla="*/ 60 h 67"/>
                    <a:gd name="T44" fmla="*/ 56 w 68"/>
                    <a:gd name="T45" fmla="*/ 60 h 67"/>
                    <a:gd name="T46" fmla="*/ 35 w 68"/>
                    <a:gd name="T47" fmla="*/ 35 h 67"/>
                    <a:gd name="T48" fmla="*/ 61 w 68"/>
                    <a:gd name="T49" fmla="*/ 56 h 67"/>
                    <a:gd name="T50" fmla="*/ 12 w 68"/>
                    <a:gd name="T51" fmla="*/ 20 h 67"/>
                    <a:gd name="T52" fmla="*/ 19 w 68"/>
                    <a:gd name="T53" fmla="*/ 19 h 67"/>
                    <a:gd name="T54" fmla="*/ 20 w 68"/>
                    <a:gd name="T55" fmla="*/ 12 h 67"/>
                    <a:gd name="T56" fmla="*/ 21 w 68"/>
                    <a:gd name="T57" fmla="*/ 19 h 67"/>
                    <a:gd name="T58" fmla="*/ 29 w 68"/>
                    <a:gd name="T59" fmla="*/ 20 h 67"/>
                    <a:gd name="T60" fmla="*/ 21 w 68"/>
                    <a:gd name="T61" fmla="*/ 21 h 67"/>
                    <a:gd name="T62" fmla="*/ 20 w 68"/>
                    <a:gd name="T63" fmla="*/ 28 h 67"/>
                    <a:gd name="T64" fmla="*/ 19 w 68"/>
                    <a:gd name="T65" fmla="*/ 21 h 67"/>
                    <a:gd name="T66" fmla="*/ 12 w 68"/>
                    <a:gd name="T67" fmla="*/ 20 h 67"/>
                    <a:gd name="T68" fmla="*/ 26 w 68"/>
                    <a:gd name="T69" fmla="*/ 53 h 67"/>
                    <a:gd name="T70" fmla="*/ 25 w 68"/>
                    <a:gd name="T71" fmla="*/ 53 h 67"/>
                    <a:gd name="T72" fmla="*/ 16 w 68"/>
                    <a:gd name="T73" fmla="*/ 53 h 67"/>
                    <a:gd name="T74" fmla="*/ 15 w 68"/>
                    <a:gd name="T75" fmla="*/ 53 h 67"/>
                    <a:gd name="T76" fmla="*/ 19 w 68"/>
                    <a:gd name="T77" fmla="*/ 47 h 67"/>
                    <a:gd name="T78" fmla="*/ 15 w 68"/>
                    <a:gd name="T79" fmla="*/ 42 h 67"/>
                    <a:gd name="T80" fmla="*/ 20 w 68"/>
                    <a:gd name="T81" fmla="*/ 46 h 67"/>
                    <a:gd name="T82" fmla="*/ 26 w 68"/>
                    <a:gd name="T83" fmla="*/ 42 h 67"/>
                    <a:gd name="T84" fmla="*/ 22 w 68"/>
                    <a:gd name="T85" fmla="*/ 47 h 67"/>
                    <a:gd name="T86" fmla="*/ 40 w 68"/>
                    <a:gd name="T87" fmla="*/ 19 h 67"/>
                    <a:gd name="T88" fmla="*/ 56 w 68"/>
                    <a:gd name="T89" fmla="*/ 18 h 67"/>
                    <a:gd name="T90" fmla="*/ 56 w 68"/>
                    <a:gd name="T91" fmla="*/ 20 h 67"/>
                    <a:gd name="T92" fmla="*/ 40 w 68"/>
                    <a:gd name="T93" fmla="*/ 19 h 67"/>
                    <a:gd name="T94" fmla="*/ 55 w 68"/>
                    <a:gd name="T95" fmla="*/ 45 h 67"/>
                    <a:gd name="T96" fmla="*/ 40 w 68"/>
                    <a:gd name="T97" fmla="*/ 44 h 67"/>
                    <a:gd name="T98" fmla="*/ 55 w 68"/>
                    <a:gd name="T99" fmla="*/ 43 h 67"/>
                    <a:gd name="T100" fmla="*/ 56 w 68"/>
                    <a:gd name="T101" fmla="*/ 50 h 67"/>
                    <a:gd name="T102" fmla="*/ 41 w 68"/>
                    <a:gd name="T103" fmla="*/ 51 h 67"/>
                    <a:gd name="T104" fmla="*/ 41 w 68"/>
                    <a:gd name="T105" fmla="*/ 49 h 67"/>
                    <a:gd name="T106" fmla="*/ 56 w 68"/>
                    <a:gd name="T107" fmla="*/ 5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57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0" y="62"/>
                        <a:pt x="5" y="67"/>
                        <a:pt x="12" y="67"/>
                      </a:cubicBezTo>
                      <a:cubicBezTo>
                        <a:pt x="57" y="67"/>
                        <a:pt x="57" y="67"/>
                        <a:pt x="57" y="67"/>
                      </a:cubicBezTo>
                      <a:cubicBezTo>
                        <a:pt x="63" y="67"/>
                        <a:pt x="68" y="62"/>
                        <a:pt x="68" y="56"/>
                      </a:cubicBezTo>
                      <a:cubicBezTo>
                        <a:pt x="68" y="11"/>
                        <a:pt x="68" y="11"/>
                        <a:pt x="68" y="11"/>
                      </a:cubicBezTo>
                      <a:cubicBezTo>
                        <a:pt x="68" y="5"/>
                        <a:pt x="63" y="0"/>
                        <a:pt x="57" y="0"/>
                      </a:cubicBezTo>
                      <a:close/>
                      <a:moveTo>
                        <a:pt x="65" y="11"/>
                      </a:moveTo>
                      <a:cubicBezTo>
                        <a:pt x="65" y="56"/>
                        <a:pt x="65" y="56"/>
                        <a:pt x="65" y="56"/>
                      </a:cubicBezTo>
                      <a:cubicBezTo>
                        <a:pt x="65" y="61"/>
                        <a:pt x="61" y="64"/>
                        <a:pt x="57" y="64"/>
                      </a:cubicBezTo>
                      <a:cubicBezTo>
                        <a:pt x="12" y="64"/>
                        <a:pt x="12" y="64"/>
                        <a:pt x="12" y="64"/>
                      </a:cubicBezTo>
                      <a:cubicBezTo>
                        <a:pt x="7" y="64"/>
                        <a:pt x="3" y="61"/>
                        <a:pt x="3" y="56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7"/>
                        <a:pt x="7" y="3"/>
                        <a:pt x="12" y="3"/>
                      </a:cubicBezTo>
                      <a:cubicBezTo>
                        <a:pt x="57" y="3"/>
                        <a:pt x="57" y="3"/>
                        <a:pt x="57" y="3"/>
                      </a:cubicBezTo>
                      <a:cubicBezTo>
                        <a:pt x="61" y="3"/>
                        <a:pt x="65" y="7"/>
                        <a:pt x="65" y="11"/>
                      </a:cubicBezTo>
                      <a:close/>
                      <a:moveTo>
                        <a:pt x="56" y="5"/>
                      </a:move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9" y="5"/>
                        <a:pt x="6" y="8"/>
                        <a:pt x="6" y="12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6" y="59"/>
                        <a:pt x="9" y="62"/>
                        <a:pt x="12" y="62"/>
                      </a:cubicBezTo>
                      <a:cubicBezTo>
                        <a:pt x="56" y="62"/>
                        <a:pt x="56" y="62"/>
                        <a:pt x="56" y="62"/>
                      </a:cubicBezTo>
                      <a:cubicBezTo>
                        <a:pt x="60" y="62"/>
                        <a:pt x="63" y="59"/>
                        <a:pt x="63" y="56"/>
                      </a:cubicBezTo>
                      <a:cubicBezTo>
                        <a:pt x="63" y="12"/>
                        <a:pt x="63" y="12"/>
                        <a:pt x="63" y="12"/>
                      </a:cubicBezTo>
                      <a:cubicBezTo>
                        <a:pt x="63" y="8"/>
                        <a:pt x="60" y="5"/>
                        <a:pt x="56" y="5"/>
                      </a:cubicBezTo>
                      <a:close/>
                      <a:moveTo>
                        <a:pt x="61" y="12"/>
                      </a:move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35" y="33"/>
                        <a:pt x="35" y="33"/>
                        <a:pt x="35" y="33"/>
                      </a:cubicBezTo>
                      <a:cubicBezTo>
                        <a:pt x="35" y="7"/>
                        <a:pt x="35" y="7"/>
                        <a:pt x="35" y="7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9" y="7"/>
                        <a:pt x="61" y="9"/>
                        <a:pt x="61" y="12"/>
                      </a:cubicBezTo>
                      <a:close/>
                      <a:moveTo>
                        <a:pt x="12" y="7"/>
                      </a:move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9"/>
                        <a:pt x="10" y="7"/>
                        <a:pt x="12" y="7"/>
                      </a:cubicBezTo>
                      <a:close/>
                      <a:moveTo>
                        <a:pt x="8" y="56"/>
                      </a:move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33" y="35"/>
                        <a:pt x="33" y="35"/>
                        <a:pt x="33" y="35"/>
                      </a:cubicBezTo>
                      <a:cubicBezTo>
                        <a:pt x="33" y="60"/>
                        <a:pt x="33" y="60"/>
                        <a:pt x="33" y="6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0" y="60"/>
                        <a:pt x="8" y="58"/>
                        <a:pt x="8" y="56"/>
                      </a:cubicBezTo>
                      <a:close/>
                      <a:moveTo>
                        <a:pt x="56" y="60"/>
                      </a:moveTo>
                      <a:cubicBezTo>
                        <a:pt x="35" y="60"/>
                        <a:pt x="35" y="60"/>
                        <a:pt x="35" y="6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1" y="35"/>
                        <a:pt x="61" y="35"/>
                        <a:pt x="61" y="35"/>
                      </a:cubicBez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58"/>
                        <a:pt x="59" y="60"/>
                        <a:pt x="56" y="60"/>
                      </a:cubicBezTo>
                      <a:close/>
                      <a:moveTo>
                        <a:pt x="12" y="20"/>
                      </a:moveTo>
                      <a:cubicBezTo>
                        <a:pt x="12" y="19"/>
                        <a:pt x="13" y="19"/>
                        <a:pt x="13" y="19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2"/>
                        <a:pt x="20" y="12"/>
                        <a:pt x="20" y="12"/>
                      </a:cubicBezTo>
                      <a:cubicBezTo>
                        <a:pt x="21" y="12"/>
                        <a:pt x="21" y="12"/>
                        <a:pt x="21" y="13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8" y="19"/>
                        <a:pt x="29" y="19"/>
                        <a:pt x="29" y="20"/>
                      </a:cubicBezTo>
                      <a:cubicBezTo>
                        <a:pt x="29" y="20"/>
                        <a:pt x="28" y="21"/>
                        <a:pt x="28" y="21"/>
                      </a:cubicBezTo>
                      <a:cubicBezTo>
                        <a:pt x="21" y="21"/>
                        <a:pt x="21" y="21"/>
                        <a:pt x="21" y="21"/>
                      </a:cubicBez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21" y="27"/>
                        <a:pt x="21" y="28"/>
                        <a:pt x="20" y="28"/>
                      </a:cubicBezTo>
                      <a:cubicBezTo>
                        <a:pt x="20" y="28"/>
                        <a:pt x="19" y="27"/>
                        <a:pt x="19" y="27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3" y="21"/>
                        <a:pt x="12" y="20"/>
                        <a:pt x="12" y="20"/>
                      </a:cubicBezTo>
                      <a:close/>
                      <a:moveTo>
                        <a:pt x="26" y="52"/>
                      </a:moveTo>
                      <a:cubicBezTo>
                        <a:pt x="27" y="52"/>
                        <a:pt x="27" y="53"/>
                        <a:pt x="26" y="53"/>
                      </a:cubicBezTo>
                      <a:cubicBezTo>
                        <a:pt x="26" y="53"/>
                        <a:pt x="26" y="53"/>
                        <a:pt x="25" y="53"/>
                      </a:cubicBezTo>
                      <a:cubicBezTo>
                        <a:pt x="25" y="53"/>
                        <a:pt x="25" y="53"/>
                        <a:pt x="25" y="53"/>
                      </a:cubicBezTo>
                      <a:cubicBezTo>
                        <a:pt x="20" y="49"/>
                        <a:pt x="20" y="49"/>
                        <a:pt x="20" y="49"/>
                      </a:cubicBezTo>
                      <a:cubicBezTo>
                        <a:pt x="16" y="53"/>
                        <a:pt x="16" y="53"/>
                        <a:pt x="16" y="53"/>
                      </a:cubicBezTo>
                      <a:cubicBezTo>
                        <a:pt x="16" y="53"/>
                        <a:pt x="16" y="53"/>
                        <a:pt x="15" y="53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4" y="53"/>
                        <a:pt x="14" y="52"/>
                        <a:pt x="15" y="52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4" y="43"/>
                        <a:pt x="14" y="42"/>
                        <a:pt x="15" y="42"/>
                      </a:cubicBezTo>
                      <a:cubicBezTo>
                        <a:pt x="15" y="41"/>
                        <a:pt x="16" y="41"/>
                        <a:pt x="16" y="42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5" y="42"/>
                        <a:pt x="25" y="42"/>
                        <a:pt x="25" y="42"/>
                      </a:cubicBezTo>
                      <a:cubicBezTo>
                        <a:pt x="25" y="41"/>
                        <a:pt x="26" y="41"/>
                        <a:pt x="26" y="42"/>
                      </a:cubicBezTo>
                      <a:cubicBezTo>
                        <a:pt x="27" y="42"/>
                        <a:pt x="27" y="43"/>
                        <a:pt x="26" y="43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lnTo>
                        <a:pt x="26" y="52"/>
                      </a:lnTo>
                      <a:close/>
                      <a:moveTo>
                        <a:pt x="40" y="19"/>
                      </a:moveTo>
                      <a:cubicBezTo>
                        <a:pt x="40" y="19"/>
                        <a:pt x="41" y="18"/>
                        <a:pt x="41" y="18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7" y="19"/>
                        <a:pt x="57" y="19"/>
                      </a:cubicBezTo>
                      <a:cubicBezTo>
                        <a:pt x="57" y="20"/>
                        <a:pt x="56" y="20"/>
                        <a:pt x="56" y="20"/>
                      </a:cubicBezTo>
                      <a:cubicBezTo>
                        <a:pt x="41" y="20"/>
                        <a:pt x="41" y="20"/>
                        <a:pt x="41" y="20"/>
                      </a:cubicBezTo>
                      <a:cubicBezTo>
                        <a:pt x="41" y="20"/>
                        <a:pt x="40" y="20"/>
                        <a:pt x="40" y="19"/>
                      </a:cubicBezTo>
                      <a:close/>
                      <a:moveTo>
                        <a:pt x="56" y="44"/>
                      </a:moveTo>
                      <a:cubicBezTo>
                        <a:pt x="56" y="45"/>
                        <a:pt x="56" y="45"/>
                        <a:pt x="55" y="45"/>
                      </a:cubicBezTo>
                      <a:cubicBezTo>
                        <a:pt x="41" y="45"/>
                        <a:pt x="41" y="45"/>
                        <a:pt x="41" y="45"/>
                      </a:cubicBezTo>
                      <a:cubicBezTo>
                        <a:pt x="41" y="45"/>
                        <a:pt x="40" y="45"/>
                        <a:pt x="40" y="44"/>
                      </a:cubicBezTo>
                      <a:cubicBezTo>
                        <a:pt x="40" y="44"/>
                        <a:pt x="41" y="43"/>
                        <a:pt x="41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6" y="43"/>
                        <a:pt x="56" y="44"/>
                        <a:pt x="56" y="44"/>
                      </a:cubicBezTo>
                      <a:close/>
                      <a:moveTo>
                        <a:pt x="56" y="50"/>
                      </a:moveTo>
                      <a:cubicBezTo>
                        <a:pt x="56" y="51"/>
                        <a:pt x="56" y="51"/>
                        <a:pt x="55" y="51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1" y="51"/>
                        <a:pt x="40" y="51"/>
                        <a:pt x="40" y="50"/>
                      </a:cubicBezTo>
                      <a:cubicBezTo>
                        <a:pt x="40" y="50"/>
                        <a:pt x="41" y="49"/>
                        <a:pt x="41" y="49"/>
                      </a:cubicBezTo>
                      <a:cubicBezTo>
                        <a:pt x="55" y="49"/>
                        <a:pt x="55" y="49"/>
                        <a:pt x="55" y="49"/>
                      </a:cubicBezTo>
                      <a:cubicBezTo>
                        <a:pt x="56" y="49"/>
                        <a:pt x="56" y="50"/>
                        <a:pt x="56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5" name="Freeform 38">
                  <a:extLst>
                    <a:ext uri="{FF2B5EF4-FFF2-40B4-BE49-F238E27FC236}">
                      <a16:creationId xmlns:a16="http://schemas.microsoft.com/office/drawing/2014/main" id="{53B40B10-D0EB-463C-9EB1-4748EE36CF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173878" y="1667655"/>
                  <a:ext cx="301451" cy="291404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6" name="Freeform 36">
                  <a:extLst>
                    <a:ext uri="{FF2B5EF4-FFF2-40B4-BE49-F238E27FC236}">
                      <a16:creationId xmlns:a16="http://schemas.microsoft.com/office/drawing/2014/main" id="{4CD2D83A-6453-49FA-85DD-9586FA7D33C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20392" y="3824677"/>
                  <a:ext cx="329120" cy="32912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7" name="Freeform 36">
                  <a:extLst>
                    <a:ext uri="{FF2B5EF4-FFF2-40B4-BE49-F238E27FC236}">
                      <a16:creationId xmlns:a16="http://schemas.microsoft.com/office/drawing/2014/main" id="{89E1028B-8414-4EE9-8E7A-A16ECA51EAC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30273" y="2777288"/>
                  <a:ext cx="265777" cy="265779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8" name="Freeform 31">
                  <a:extLst>
                    <a:ext uri="{FF2B5EF4-FFF2-40B4-BE49-F238E27FC236}">
                      <a16:creationId xmlns:a16="http://schemas.microsoft.com/office/drawing/2014/main" id="{AB3C338D-0605-4A72-BF23-82C050F8F1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18709" y="4208219"/>
                  <a:ext cx="424442" cy="461620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9" name="Freeform 32">
                  <a:extLst>
                    <a:ext uri="{FF2B5EF4-FFF2-40B4-BE49-F238E27FC236}">
                      <a16:creationId xmlns:a16="http://schemas.microsoft.com/office/drawing/2014/main" id="{FFD22090-A441-4604-84B8-3A307326652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05404" y="3395343"/>
                  <a:ext cx="397375" cy="443694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0" name="Freeform 33">
                  <a:extLst>
                    <a:ext uri="{FF2B5EF4-FFF2-40B4-BE49-F238E27FC236}">
                      <a16:creationId xmlns:a16="http://schemas.microsoft.com/office/drawing/2014/main" id="{5A132696-52B7-40B0-A22A-64F63FEC4E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5707" y="2808932"/>
                  <a:ext cx="382175" cy="391496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1" name="Freeform 35">
                  <a:extLst>
                    <a:ext uri="{FF2B5EF4-FFF2-40B4-BE49-F238E27FC236}">
                      <a16:creationId xmlns:a16="http://schemas.microsoft.com/office/drawing/2014/main" id="{9CDBD983-B7C8-4639-BCBA-2E0C49AF44E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73374" y="2511750"/>
                  <a:ext cx="346735" cy="331374"/>
                </a:xfrm>
                <a:custGeom>
                  <a:avLst/>
                  <a:gdLst>
                    <a:gd name="T0" fmla="*/ 44 w 67"/>
                    <a:gd name="T1" fmla="*/ 21 h 64"/>
                    <a:gd name="T2" fmla="*/ 25 w 67"/>
                    <a:gd name="T3" fmla="*/ 19 h 64"/>
                    <a:gd name="T4" fmla="*/ 24 w 67"/>
                    <a:gd name="T5" fmla="*/ 21 h 64"/>
                    <a:gd name="T6" fmla="*/ 16 w 67"/>
                    <a:gd name="T7" fmla="*/ 30 h 64"/>
                    <a:gd name="T8" fmla="*/ 26 w 67"/>
                    <a:gd name="T9" fmla="*/ 36 h 64"/>
                    <a:gd name="T10" fmla="*/ 32 w 67"/>
                    <a:gd name="T11" fmla="*/ 42 h 64"/>
                    <a:gd name="T12" fmla="*/ 26 w 67"/>
                    <a:gd name="T13" fmla="*/ 48 h 64"/>
                    <a:gd name="T14" fmla="*/ 42 w 67"/>
                    <a:gd name="T15" fmla="*/ 48 h 64"/>
                    <a:gd name="T16" fmla="*/ 36 w 67"/>
                    <a:gd name="T17" fmla="*/ 42 h 64"/>
                    <a:gd name="T18" fmla="*/ 42 w 67"/>
                    <a:gd name="T19" fmla="*/ 36 h 64"/>
                    <a:gd name="T20" fmla="*/ 51 w 67"/>
                    <a:gd name="T21" fmla="*/ 30 h 64"/>
                    <a:gd name="T22" fmla="*/ 19 w 67"/>
                    <a:gd name="T23" fmla="*/ 30 h 64"/>
                    <a:gd name="T24" fmla="*/ 24 w 67"/>
                    <a:gd name="T25" fmla="*/ 31 h 64"/>
                    <a:gd name="T26" fmla="*/ 48 w 67"/>
                    <a:gd name="T27" fmla="*/ 30 h 64"/>
                    <a:gd name="T28" fmla="*/ 44 w 67"/>
                    <a:gd name="T29" fmla="*/ 31 h 64"/>
                    <a:gd name="T30" fmla="*/ 48 w 67"/>
                    <a:gd name="T31" fmla="*/ 30 h 64"/>
                    <a:gd name="T32" fmla="*/ 61 w 67"/>
                    <a:gd name="T33" fmla="*/ 20 h 64"/>
                    <a:gd name="T34" fmla="*/ 51 w 67"/>
                    <a:gd name="T35" fmla="*/ 9 h 64"/>
                    <a:gd name="T36" fmla="*/ 43 w 67"/>
                    <a:gd name="T37" fmla="*/ 0 h 64"/>
                    <a:gd name="T38" fmla="*/ 30 w 67"/>
                    <a:gd name="T39" fmla="*/ 2 h 64"/>
                    <a:gd name="T40" fmla="*/ 19 w 67"/>
                    <a:gd name="T41" fmla="*/ 6 h 64"/>
                    <a:gd name="T42" fmla="*/ 7 w 67"/>
                    <a:gd name="T43" fmla="*/ 13 h 64"/>
                    <a:gd name="T44" fmla="*/ 4 w 67"/>
                    <a:gd name="T45" fmla="*/ 26 h 64"/>
                    <a:gd name="T46" fmla="*/ 7 w 67"/>
                    <a:gd name="T47" fmla="*/ 41 h 64"/>
                    <a:gd name="T48" fmla="*/ 13 w 67"/>
                    <a:gd name="T49" fmla="*/ 55 h 64"/>
                    <a:gd name="T50" fmla="*/ 24 w 67"/>
                    <a:gd name="T51" fmla="*/ 64 h 64"/>
                    <a:gd name="T52" fmla="*/ 34 w 67"/>
                    <a:gd name="T53" fmla="*/ 61 h 64"/>
                    <a:gd name="T54" fmla="*/ 44 w 67"/>
                    <a:gd name="T55" fmla="*/ 64 h 64"/>
                    <a:gd name="T56" fmla="*/ 54 w 67"/>
                    <a:gd name="T57" fmla="*/ 55 h 64"/>
                    <a:gd name="T58" fmla="*/ 61 w 67"/>
                    <a:gd name="T59" fmla="*/ 41 h 64"/>
                    <a:gd name="T60" fmla="*/ 63 w 67"/>
                    <a:gd name="T61" fmla="*/ 26 h 64"/>
                    <a:gd name="T62" fmla="*/ 58 w 67"/>
                    <a:gd name="T63" fmla="*/ 19 h 64"/>
                    <a:gd name="T64" fmla="*/ 54 w 67"/>
                    <a:gd name="T65" fmla="*/ 13 h 64"/>
                    <a:gd name="T66" fmla="*/ 46 w 67"/>
                    <a:gd name="T67" fmla="*/ 7 h 64"/>
                    <a:gd name="T68" fmla="*/ 39 w 67"/>
                    <a:gd name="T69" fmla="*/ 5 h 64"/>
                    <a:gd name="T70" fmla="*/ 29 w 67"/>
                    <a:gd name="T71" fmla="*/ 5 h 64"/>
                    <a:gd name="T72" fmla="*/ 22 w 67"/>
                    <a:gd name="T73" fmla="*/ 7 h 64"/>
                    <a:gd name="T74" fmla="*/ 18 w 67"/>
                    <a:gd name="T75" fmla="*/ 12 h 64"/>
                    <a:gd name="T76" fmla="*/ 9 w 67"/>
                    <a:gd name="T77" fmla="*/ 14 h 64"/>
                    <a:gd name="T78" fmla="*/ 6 w 67"/>
                    <a:gd name="T79" fmla="*/ 28 h 64"/>
                    <a:gd name="T80" fmla="*/ 9 w 67"/>
                    <a:gd name="T81" fmla="*/ 40 h 64"/>
                    <a:gd name="T82" fmla="*/ 9 w 67"/>
                    <a:gd name="T83" fmla="*/ 50 h 64"/>
                    <a:gd name="T84" fmla="*/ 18 w 67"/>
                    <a:gd name="T85" fmla="*/ 53 h 64"/>
                    <a:gd name="T86" fmla="*/ 24 w 67"/>
                    <a:gd name="T87" fmla="*/ 61 h 64"/>
                    <a:gd name="T88" fmla="*/ 33 w 67"/>
                    <a:gd name="T89" fmla="*/ 58 h 64"/>
                    <a:gd name="T90" fmla="*/ 43 w 67"/>
                    <a:gd name="T91" fmla="*/ 61 h 64"/>
                    <a:gd name="T92" fmla="*/ 48 w 67"/>
                    <a:gd name="T93" fmla="*/ 53 h 64"/>
                    <a:gd name="T94" fmla="*/ 10 w 67"/>
                    <a:gd name="T95" fmla="*/ 32 h 64"/>
                    <a:gd name="T96" fmla="*/ 34 w 67"/>
                    <a:gd name="T97" fmla="*/ 56 h 64"/>
                    <a:gd name="T98" fmla="*/ 49 w 67"/>
                    <a:gd name="T99" fmla="*/ 53 h 64"/>
                    <a:gd name="T100" fmla="*/ 58 w 67"/>
                    <a:gd name="T101" fmla="*/ 50 h 64"/>
                    <a:gd name="T102" fmla="*/ 60 w 67"/>
                    <a:gd name="T103" fmla="*/ 32 h 64"/>
                    <a:gd name="T104" fmla="*/ 64 w 67"/>
                    <a:gd name="T105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" h="64">
                      <a:moveTo>
                        <a:pt x="51" y="23"/>
                      </a:moveTo>
                      <a:cubicBezTo>
                        <a:pt x="51" y="22"/>
                        <a:pt x="51" y="21"/>
                        <a:pt x="50" y="21"/>
                      </a:cubicBezTo>
                      <a:cubicBezTo>
                        <a:pt x="44" y="21"/>
                        <a:pt x="44" y="21"/>
                        <a:pt x="44" y="21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20"/>
                        <a:pt x="44" y="19"/>
                        <a:pt x="43" y="19"/>
                      </a:cubicBezTo>
                      <a:cubicBezTo>
                        <a:pt x="25" y="19"/>
                        <a:pt x="25" y="19"/>
                        <a:pt x="25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4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1"/>
                        <a:pt x="16" y="22"/>
                        <a:pt x="16" y="2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3"/>
                        <a:pt x="20" y="35"/>
                        <a:pt x="22" y="37"/>
                      </a:cubicBez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24" y="37"/>
                        <a:pt x="25" y="37"/>
                        <a:pt x="26" y="36"/>
                      </a:cubicBezTo>
                      <a:cubicBezTo>
                        <a:pt x="27" y="37"/>
                        <a:pt x="28" y="38"/>
                        <a:pt x="30" y="39"/>
                      </a:cubicBezTo>
                      <a:cubicBezTo>
                        <a:pt x="30" y="39"/>
                        <a:pt x="31" y="39"/>
                        <a:pt x="31" y="40"/>
                      </a:cubicBezTo>
                      <a:cubicBezTo>
                        <a:pt x="31" y="40"/>
                        <a:pt x="32" y="41"/>
                        <a:pt x="32" y="42"/>
                      </a:cubicBezTo>
                      <a:cubicBezTo>
                        <a:pt x="32" y="45"/>
                        <a:pt x="30" y="46"/>
                        <a:pt x="30" y="46"/>
                      </a:cubicBezTo>
                      <a:cubicBezTo>
                        <a:pt x="30" y="46"/>
                        <a:pt x="28" y="47"/>
                        <a:pt x="26" y="47"/>
                      </a:cubicBezTo>
                      <a:cubicBezTo>
                        <a:pt x="26" y="47"/>
                        <a:pt x="26" y="48"/>
                        <a:pt x="26" y="48"/>
                      </a:cubicBezTo>
                      <a:cubicBezTo>
                        <a:pt x="26" y="49"/>
                        <a:pt x="26" y="49"/>
                        <a:pt x="27" y="49"/>
                      </a:cubicBezTo>
                      <a:cubicBezTo>
                        <a:pt x="41" y="49"/>
                        <a:pt x="41" y="49"/>
                        <a:pt x="41" y="49"/>
                      </a:cubicBezTo>
                      <a:cubicBezTo>
                        <a:pt x="42" y="49"/>
                        <a:pt x="42" y="49"/>
                        <a:pt x="42" y="48"/>
                      </a:cubicBezTo>
                      <a:cubicBezTo>
                        <a:pt x="42" y="48"/>
                        <a:pt x="42" y="47"/>
                        <a:pt x="42" y="47"/>
                      </a:cubicBezTo>
                      <a:cubicBezTo>
                        <a:pt x="40" y="47"/>
                        <a:pt x="38" y="46"/>
                        <a:pt x="38" y="46"/>
                      </a:cubicBezTo>
                      <a:cubicBezTo>
                        <a:pt x="37" y="46"/>
                        <a:pt x="36" y="45"/>
                        <a:pt x="36" y="42"/>
                      </a:cubicBezTo>
                      <a:cubicBezTo>
                        <a:pt x="36" y="41"/>
                        <a:pt x="37" y="40"/>
                        <a:pt x="37" y="39"/>
                      </a:cubicBezTo>
                      <a:cubicBezTo>
                        <a:pt x="37" y="39"/>
                        <a:pt x="38" y="39"/>
                        <a:pt x="38" y="39"/>
                      </a:cubicBezTo>
                      <a:cubicBezTo>
                        <a:pt x="40" y="38"/>
                        <a:pt x="41" y="37"/>
                        <a:pt x="42" y="36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45" y="37"/>
                        <a:pt x="45" y="37"/>
                        <a:pt x="46" y="37"/>
                      </a:cubicBezTo>
                      <a:cubicBezTo>
                        <a:pt x="48" y="35"/>
                        <a:pt x="51" y="33"/>
                        <a:pt x="51" y="30"/>
                      </a:cubicBezTo>
                      <a:lnTo>
                        <a:pt x="51" y="23"/>
                      </a:lnTo>
                      <a:close/>
                      <a:moveTo>
                        <a:pt x="23" y="34"/>
                      </a:moveTo>
                      <a:cubicBezTo>
                        <a:pt x="19" y="31"/>
                        <a:pt x="19" y="30"/>
                        <a:pt x="19" y="30"/>
                      </a:cubicBez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4" y="32"/>
                        <a:pt x="24" y="33"/>
                        <a:pt x="24" y="33"/>
                      </a:cubicBezTo>
                      <a:cubicBezTo>
                        <a:pt x="24" y="34"/>
                        <a:pt x="24" y="34"/>
                        <a:pt x="23" y="34"/>
                      </a:cubicBezTo>
                      <a:close/>
                      <a:moveTo>
                        <a:pt x="48" y="30"/>
                      </a:moveTo>
                      <a:cubicBezTo>
                        <a:pt x="48" y="30"/>
                        <a:pt x="48" y="31"/>
                        <a:pt x="44" y="34"/>
                      </a:cubicBezTo>
                      <a:cubicBezTo>
                        <a:pt x="44" y="34"/>
                        <a:pt x="44" y="34"/>
                        <a:pt x="44" y="33"/>
                      </a:cubicBezTo>
                      <a:cubicBezTo>
                        <a:pt x="44" y="33"/>
                        <a:pt x="44" y="32"/>
                        <a:pt x="44" y="31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lnTo>
                        <a:pt x="48" y="30"/>
                      </a:lnTo>
                      <a:close/>
                      <a:moveTo>
                        <a:pt x="63" y="26"/>
                      </a:moveTo>
                      <a:cubicBezTo>
                        <a:pt x="62" y="25"/>
                        <a:pt x="61" y="24"/>
                        <a:pt x="61" y="24"/>
                      </a:cubicBezTo>
                      <a:cubicBezTo>
                        <a:pt x="61" y="23"/>
                        <a:pt x="61" y="21"/>
                        <a:pt x="61" y="20"/>
                      </a:cubicBezTo>
                      <a:cubicBezTo>
                        <a:pt x="62" y="17"/>
                        <a:pt x="62" y="15"/>
                        <a:pt x="61" y="13"/>
                      </a:cubicBezTo>
                      <a:cubicBezTo>
                        <a:pt x="59" y="11"/>
                        <a:pt x="57" y="10"/>
                        <a:pt x="54" y="10"/>
                      </a:cubicBezTo>
                      <a:cubicBezTo>
                        <a:pt x="53" y="10"/>
                        <a:pt x="51" y="10"/>
                        <a:pt x="51" y="9"/>
                      </a:cubicBezTo>
                      <a:cubicBezTo>
                        <a:pt x="50" y="9"/>
                        <a:pt x="49" y="7"/>
                        <a:pt x="49" y="6"/>
                      </a:cubicBezTo>
                      <a:cubicBezTo>
                        <a:pt x="48" y="4"/>
                        <a:pt x="47" y="1"/>
                        <a:pt x="44" y="1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41" y="0"/>
                        <a:pt x="39" y="1"/>
                        <a:pt x="37" y="2"/>
                      </a:cubicBezTo>
                      <a:cubicBezTo>
                        <a:pt x="36" y="3"/>
                        <a:pt x="35" y="4"/>
                        <a:pt x="34" y="4"/>
                      </a:cubicBezTo>
                      <a:cubicBezTo>
                        <a:pt x="33" y="4"/>
                        <a:pt x="32" y="3"/>
                        <a:pt x="30" y="2"/>
                      </a:cubicBezTo>
                      <a:cubicBezTo>
                        <a:pt x="29" y="1"/>
                        <a:pt x="27" y="0"/>
                        <a:pt x="25" y="0"/>
                      </a:cubicBezTo>
                      <a:cubicBezTo>
                        <a:pt x="25" y="0"/>
                        <a:pt x="24" y="0"/>
                        <a:pt x="24" y="1"/>
                      </a:cubicBezTo>
                      <a:cubicBezTo>
                        <a:pt x="21" y="1"/>
                        <a:pt x="20" y="4"/>
                        <a:pt x="19" y="6"/>
                      </a:cubicBezTo>
                      <a:cubicBezTo>
                        <a:pt x="18" y="7"/>
                        <a:pt x="18" y="9"/>
                        <a:pt x="17" y="9"/>
                      </a:cubicBezTo>
                      <a:cubicBezTo>
                        <a:pt x="16" y="10"/>
                        <a:pt x="15" y="10"/>
                        <a:pt x="13" y="10"/>
                      </a:cubicBezTo>
                      <a:cubicBezTo>
                        <a:pt x="11" y="10"/>
                        <a:pt x="8" y="11"/>
                        <a:pt x="7" y="13"/>
                      </a:cubicBezTo>
                      <a:cubicBezTo>
                        <a:pt x="5" y="15"/>
                        <a:pt x="6" y="17"/>
                        <a:pt x="6" y="20"/>
                      </a:cubicBezTo>
                      <a:cubicBezTo>
                        <a:pt x="7" y="21"/>
                        <a:pt x="7" y="23"/>
                        <a:pt x="7" y="24"/>
                      </a:cubicBezTo>
                      <a:cubicBezTo>
                        <a:pt x="7" y="24"/>
                        <a:pt x="5" y="25"/>
                        <a:pt x="4" y="26"/>
                      </a:cubicBezTo>
                      <a:cubicBezTo>
                        <a:pt x="3" y="28"/>
                        <a:pt x="0" y="30"/>
                        <a:pt x="0" y="32"/>
                      </a:cubicBezTo>
                      <a:cubicBezTo>
                        <a:pt x="0" y="35"/>
                        <a:pt x="3" y="37"/>
                        <a:pt x="4" y="38"/>
                      </a:cubicBezTo>
                      <a:cubicBezTo>
                        <a:pt x="5" y="39"/>
                        <a:pt x="7" y="40"/>
                        <a:pt x="7" y="41"/>
                      </a:cubicBezTo>
                      <a:cubicBezTo>
                        <a:pt x="7" y="42"/>
                        <a:pt x="7" y="44"/>
                        <a:pt x="6" y="45"/>
                      </a:cubicBezTo>
                      <a:cubicBezTo>
                        <a:pt x="6" y="47"/>
                        <a:pt x="5" y="50"/>
                        <a:pt x="7" y="52"/>
                      </a:cubicBezTo>
                      <a:cubicBezTo>
                        <a:pt x="8" y="54"/>
                        <a:pt x="11" y="54"/>
                        <a:pt x="13" y="55"/>
                      </a:cubicBezTo>
                      <a:cubicBezTo>
                        <a:pt x="15" y="55"/>
                        <a:pt x="16" y="55"/>
                        <a:pt x="17" y="55"/>
                      </a:cubicBezTo>
                      <a:cubicBezTo>
                        <a:pt x="18" y="56"/>
                        <a:pt x="18" y="57"/>
                        <a:pt x="19" y="59"/>
                      </a:cubicBezTo>
                      <a:cubicBezTo>
                        <a:pt x="20" y="61"/>
                        <a:pt x="21" y="63"/>
                        <a:pt x="24" y="64"/>
                      </a:cubicBezTo>
                      <a:cubicBezTo>
                        <a:pt x="24" y="64"/>
                        <a:pt x="25" y="64"/>
                        <a:pt x="25" y="64"/>
                      </a:cubicBezTo>
                      <a:cubicBezTo>
                        <a:pt x="27" y="64"/>
                        <a:pt x="29" y="63"/>
                        <a:pt x="30" y="62"/>
                      </a:cubicBezTo>
                      <a:cubicBezTo>
                        <a:pt x="32" y="62"/>
                        <a:pt x="33" y="61"/>
                        <a:pt x="34" y="61"/>
                      </a:cubicBezTo>
                      <a:cubicBezTo>
                        <a:pt x="35" y="61"/>
                        <a:pt x="36" y="62"/>
                        <a:pt x="37" y="62"/>
                      </a:cubicBezTo>
                      <a:cubicBezTo>
                        <a:pt x="39" y="63"/>
                        <a:pt x="41" y="64"/>
                        <a:pt x="43" y="64"/>
                      </a:cubicBezTo>
                      <a:cubicBezTo>
                        <a:pt x="43" y="64"/>
                        <a:pt x="44" y="64"/>
                        <a:pt x="44" y="64"/>
                      </a:cubicBezTo>
                      <a:cubicBezTo>
                        <a:pt x="47" y="63"/>
                        <a:pt x="48" y="61"/>
                        <a:pt x="49" y="59"/>
                      </a:cubicBezTo>
                      <a:cubicBezTo>
                        <a:pt x="49" y="57"/>
                        <a:pt x="50" y="56"/>
                        <a:pt x="51" y="55"/>
                      </a:cubicBezTo>
                      <a:cubicBezTo>
                        <a:pt x="51" y="55"/>
                        <a:pt x="53" y="55"/>
                        <a:pt x="54" y="55"/>
                      </a:cubicBezTo>
                      <a:cubicBezTo>
                        <a:pt x="57" y="54"/>
                        <a:pt x="59" y="54"/>
                        <a:pt x="61" y="52"/>
                      </a:cubicBezTo>
                      <a:cubicBezTo>
                        <a:pt x="62" y="50"/>
                        <a:pt x="62" y="47"/>
                        <a:pt x="61" y="45"/>
                      </a:cubicBezTo>
                      <a:cubicBezTo>
                        <a:pt x="61" y="44"/>
                        <a:pt x="61" y="42"/>
                        <a:pt x="61" y="41"/>
                      </a:cubicBezTo>
                      <a:cubicBezTo>
                        <a:pt x="61" y="40"/>
                        <a:pt x="62" y="39"/>
                        <a:pt x="63" y="38"/>
                      </a:cubicBezTo>
                      <a:cubicBezTo>
                        <a:pt x="65" y="37"/>
                        <a:pt x="67" y="35"/>
                        <a:pt x="67" y="32"/>
                      </a:cubicBezTo>
                      <a:cubicBezTo>
                        <a:pt x="67" y="30"/>
                        <a:pt x="65" y="28"/>
                        <a:pt x="63" y="26"/>
                      </a:cubicBezTo>
                      <a:close/>
                      <a:moveTo>
                        <a:pt x="54" y="13"/>
                      </a:moveTo>
                      <a:cubicBezTo>
                        <a:pt x="56" y="13"/>
                        <a:pt x="58" y="13"/>
                        <a:pt x="58" y="14"/>
                      </a:cubicBezTo>
                      <a:cubicBezTo>
                        <a:pt x="59" y="15"/>
                        <a:pt x="59" y="17"/>
                        <a:pt x="58" y="19"/>
                      </a:cubicBezTo>
                      <a:cubicBezTo>
                        <a:pt x="58" y="21"/>
                        <a:pt x="58" y="22"/>
                        <a:pt x="58" y="24"/>
                      </a:cubicBezTo>
                      <a:cubicBezTo>
                        <a:pt x="56" y="19"/>
                        <a:pt x="53" y="15"/>
                        <a:pt x="49" y="12"/>
                      </a:cubicBezTo>
                      <a:cubicBezTo>
                        <a:pt x="51" y="13"/>
                        <a:pt x="52" y="13"/>
                        <a:pt x="54" y="13"/>
                      </a:cubicBezTo>
                      <a:close/>
                      <a:moveTo>
                        <a:pt x="39" y="5"/>
                      </a:moveTo>
                      <a:cubicBezTo>
                        <a:pt x="41" y="4"/>
                        <a:pt x="42" y="3"/>
                        <a:pt x="43" y="3"/>
                      </a:cubicBezTo>
                      <a:cubicBezTo>
                        <a:pt x="44" y="4"/>
                        <a:pt x="45" y="6"/>
                        <a:pt x="46" y="7"/>
                      </a:cubicBezTo>
                      <a:cubicBezTo>
                        <a:pt x="47" y="9"/>
                        <a:pt x="47" y="10"/>
                        <a:pt x="48" y="11"/>
                      </a:cubicBezTo>
                      <a:cubicBezTo>
                        <a:pt x="44" y="8"/>
                        <a:pt x="40" y="7"/>
                        <a:pt x="35" y="7"/>
                      </a:cubicBezTo>
                      <a:cubicBezTo>
                        <a:pt x="36" y="6"/>
                        <a:pt x="38" y="6"/>
                        <a:pt x="39" y="5"/>
                      </a:cubicBezTo>
                      <a:close/>
                      <a:moveTo>
                        <a:pt x="22" y="7"/>
                      </a:moveTo>
                      <a:cubicBezTo>
                        <a:pt x="22" y="6"/>
                        <a:pt x="23" y="4"/>
                        <a:pt x="24" y="3"/>
                      </a:cubicBezTo>
                      <a:cubicBezTo>
                        <a:pt x="26" y="3"/>
                        <a:pt x="27" y="4"/>
                        <a:pt x="29" y="5"/>
                      </a:cubicBezTo>
                      <a:cubicBezTo>
                        <a:pt x="30" y="6"/>
                        <a:pt x="32" y="6"/>
                        <a:pt x="33" y="7"/>
                      </a:cubicBezTo>
                      <a:cubicBezTo>
                        <a:pt x="28" y="7"/>
                        <a:pt x="23" y="8"/>
                        <a:pt x="19" y="11"/>
                      </a:cubicBezTo>
                      <a:cubicBezTo>
                        <a:pt x="20" y="10"/>
                        <a:pt x="21" y="9"/>
                        <a:pt x="22" y="7"/>
                      </a:cubicBezTo>
                      <a:close/>
                      <a:moveTo>
                        <a:pt x="9" y="14"/>
                      </a:moveTo>
                      <a:cubicBezTo>
                        <a:pt x="10" y="13"/>
                        <a:pt x="12" y="13"/>
                        <a:pt x="14" y="13"/>
                      </a:cubicBezTo>
                      <a:cubicBezTo>
                        <a:pt x="15" y="13"/>
                        <a:pt x="17" y="13"/>
                        <a:pt x="18" y="12"/>
                      </a:cubicBezTo>
                      <a:cubicBezTo>
                        <a:pt x="14" y="15"/>
                        <a:pt x="11" y="19"/>
                        <a:pt x="10" y="24"/>
                      </a:cubicBezTo>
                      <a:cubicBezTo>
                        <a:pt x="10" y="22"/>
                        <a:pt x="10" y="21"/>
                        <a:pt x="9" y="19"/>
                      </a:cubicBezTo>
                      <a:cubicBezTo>
                        <a:pt x="9" y="17"/>
                        <a:pt x="9" y="15"/>
                        <a:pt x="9" y="14"/>
                      </a:cubicBezTo>
                      <a:close/>
                      <a:moveTo>
                        <a:pt x="6" y="36"/>
                      </a:moveTo>
                      <a:cubicBezTo>
                        <a:pt x="5" y="35"/>
                        <a:pt x="3" y="34"/>
                        <a:pt x="3" y="32"/>
                      </a:cubicBezTo>
                      <a:cubicBezTo>
                        <a:pt x="3" y="31"/>
                        <a:pt x="5" y="30"/>
                        <a:pt x="6" y="28"/>
                      </a:cubicBezTo>
                      <a:cubicBezTo>
                        <a:pt x="8" y="27"/>
                        <a:pt x="9" y="26"/>
                        <a:pt x="9" y="25"/>
                      </a:cubicBezTo>
                      <a:cubicBezTo>
                        <a:pt x="9" y="27"/>
                        <a:pt x="8" y="30"/>
                        <a:pt x="8" y="32"/>
                      </a:cubicBezTo>
                      <a:cubicBezTo>
                        <a:pt x="8" y="35"/>
                        <a:pt x="9" y="37"/>
                        <a:pt x="9" y="40"/>
                      </a:cubicBezTo>
                      <a:cubicBezTo>
                        <a:pt x="9" y="38"/>
                        <a:pt x="8" y="37"/>
                        <a:pt x="6" y="36"/>
                      </a:cubicBezTo>
                      <a:close/>
                      <a:moveTo>
                        <a:pt x="14" y="52"/>
                      </a:moveTo>
                      <a:cubicBezTo>
                        <a:pt x="12" y="51"/>
                        <a:pt x="10" y="51"/>
                        <a:pt x="9" y="50"/>
                      </a:cubicBezTo>
                      <a:cubicBezTo>
                        <a:pt x="9" y="49"/>
                        <a:pt x="9" y="47"/>
                        <a:pt x="9" y="46"/>
                      </a:cubicBezTo>
                      <a:cubicBezTo>
                        <a:pt x="10" y="44"/>
                        <a:pt x="10" y="42"/>
                        <a:pt x="10" y="41"/>
                      </a:cubicBezTo>
                      <a:cubicBezTo>
                        <a:pt x="11" y="46"/>
                        <a:pt x="14" y="50"/>
                        <a:pt x="18" y="53"/>
                      </a:cubicBezTo>
                      <a:cubicBezTo>
                        <a:pt x="17" y="52"/>
                        <a:pt x="15" y="52"/>
                        <a:pt x="14" y="52"/>
                      </a:cubicBezTo>
                      <a:close/>
                      <a:moveTo>
                        <a:pt x="29" y="60"/>
                      </a:moveTo>
                      <a:cubicBezTo>
                        <a:pt x="27" y="61"/>
                        <a:pt x="26" y="62"/>
                        <a:pt x="24" y="61"/>
                      </a:cubicBezTo>
                      <a:cubicBezTo>
                        <a:pt x="23" y="61"/>
                        <a:pt x="22" y="59"/>
                        <a:pt x="22" y="57"/>
                      </a:cubicBezTo>
                      <a:cubicBezTo>
                        <a:pt x="21" y="56"/>
                        <a:pt x="20" y="54"/>
                        <a:pt x="19" y="53"/>
                      </a:cubicBezTo>
                      <a:cubicBezTo>
                        <a:pt x="23" y="56"/>
                        <a:pt x="28" y="58"/>
                        <a:pt x="33" y="58"/>
                      </a:cubicBezTo>
                      <a:cubicBezTo>
                        <a:pt x="32" y="58"/>
                        <a:pt x="30" y="59"/>
                        <a:pt x="29" y="60"/>
                      </a:cubicBezTo>
                      <a:close/>
                      <a:moveTo>
                        <a:pt x="46" y="57"/>
                      </a:moveTo>
                      <a:cubicBezTo>
                        <a:pt x="45" y="59"/>
                        <a:pt x="44" y="61"/>
                        <a:pt x="43" y="61"/>
                      </a:cubicBezTo>
                      <a:cubicBezTo>
                        <a:pt x="42" y="62"/>
                        <a:pt x="41" y="61"/>
                        <a:pt x="39" y="60"/>
                      </a:cubicBezTo>
                      <a:cubicBezTo>
                        <a:pt x="37" y="59"/>
                        <a:pt x="36" y="58"/>
                        <a:pt x="35" y="58"/>
                      </a:cubicBezTo>
                      <a:cubicBezTo>
                        <a:pt x="40" y="58"/>
                        <a:pt x="44" y="56"/>
                        <a:pt x="48" y="53"/>
                      </a:cubicBezTo>
                      <a:cubicBezTo>
                        <a:pt x="47" y="54"/>
                        <a:pt x="47" y="56"/>
                        <a:pt x="46" y="57"/>
                      </a:cubicBezTo>
                      <a:close/>
                      <a:moveTo>
                        <a:pt x="34" y="56"/>
                      </a:moveTo>
                      <a:cubicBezTo>
                        <a:pt x="21" y="56"/>
                        <a:pt x="10" y="45"/>
                        <a:pt x="10" y="32"/>
                      </a:cubicBezTo>
                      <a:cubicBezTo>
                        <a:pt x="10" y="19"/>
                        <a:pt x="21" y="9"/>
                        <a:pt x="34" y="9"/>
                      </a:cubicBezTo>
                      <a:cubicBezTo>
                        <a:pt x="47" y="9"/>
                        <a:pt x="58" y="19"/>
                        <a:pt x="58" y="32"/>
                      </a:cubicBezTo>
                      <a:cubicBezTo>
                        <a:pt x="58" y="45"/>
                        <a:pt x="47" y="56"/>
                        <a:pt x="34" y="56"/>
                      </a:cubicBezTo>
                      <a:close/>
                      <a:moveTo>
                        <a:pt x="58" y="50"/>
                      </a:moveTo>
                      <a:cubicBezTo>
                        <a:pt x="58" y="51"/>
                        <a:pt x="56" y="51"/>
                        <a:pt x="54" y="52"/>
                      </a:cubicBezTo>
                      <a:cubicBezTo>
                        <a:pt x="52" y="52"/>
                        <a:pt x="51" y="52"/>
                        <a:pt x="49" y="53"/>
                      </a:cubicBezTo>
                      <a:cubicBezTo>
                        <a:pt x="53" y="50"/>
                        <a:pt x="56" y="46"/>
                        <a:pt x="58" y="41"/>
                      </a:cubicBezTo>
                      <a:cubicBezTo>
                        <a:pt x="58" y="42"/>
                        <a:pt x="58" y="44"/>
                        <a:pt x="58" y="46"/>
                      </a:cubicBezTo>
                      <a:cubicBezTo>
                        <a:pt x="59" y="47"/>
                        <a:pt x="59" y="49"/>
                        <a:pt x="58" y="50"/>
                      </a:cubicBezTo>
                      <a:close/>
                      <a:moveTo>
                        <a:pt x="61" y="36"/>
                      </a:moveTo>
                      <a:cubicBezTo>
                        <a:pt x="60" y="37"/>
                        <a:pt x="59" y="38"/>
                        <a:pt x="58" y="40"/>
                      </a:cubicBezTo>
                      <a:cubicBezTo>
                        <a:pt x="59" y="37"/>
                        <a:pt x="60" y="35"/>
                        <a:pt x="60" y="32"/>
                      </a:cubicBezTo>
                      <a:cubicBezTo>
                        <a:pt x="60" y="30"/>
                        <a:pt x="59" y="27"/>
                        <a:pt x="58" y="25"/>
                      </a:cubicBezTo>
                      <a:cubicBezTo>
                        <a:pt x="59" y="26"/>
                        <a:pt x="60" y="27"/>
                        <a:pt x="61" y="28"/>
                      </a:cubicBezTo>
                      <a:cubicBezTo>
                        <a:pt x="63" y="30"/>
                        <a:pt x="64" y="31"/>
                        <a:pt x="64" y="32"/>
                      </a:cubicBezTo>
                      <a:cubicBezTo>
                        <a:pt x="64" y="34"/>
                        <a:pt x="63" y="35"/>
                        <a:pt x="6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2" name="Freeform 36">
                  <a:extLst>
                    <a:ext uri="{FF2B5EF4-FFF2-40B4-BE49-F238E27FC236}">
                      <a16:creationId xmlns:a16="http://schemas.microsoft.com/office/drawing/2014/main" id="{3C0445F3-6A72-4189-B325-26264505BEE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17564" y="5064957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3" name="Freeform 37">
                  <a:extLst>
                    <a:ext uri="{FF2B5EF4-FFF2-40B4-BE49-F238E27FC236}">
                      <a16:creationId xmlns:a16="http://schemas.microsoft.com/office/drawing/2014/main" id="{76D30DD8-3168-4DF2-89CB-D96A95D5B7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96050" y="2402795"/>
                  <a:ext cx="375466" cy="361207"/>
                </a:xfrm>
                <a:custGeom>
                  <a:avLst/>
                  <a:gdLst>
                    <a:gd name="T0" fmla="*/ 65 w 67"/>
                    <a:gd name="T1" fmla="*/ 41 h 64"/>
                    <a:gd name="T2" fmla="*/ 46 w 67"/>
                    <a:gd name="T3" fmla="*/ 41 h 64"/>
                    <a:gd name="T4" fmla="*/ 46 w 67"/>
                    <a:gd name="T5" fmla="*/ 34 h 64"/>
                    <a:gd name="T6" fmla="*/ 44 w 67"/>
                    <a:gd name="T7" fmla="*/ 32 h 64"/>
                    <a:gd name="T8" fmla="*/ 23 w 67"/>
                    <a:gd name="T9" fmla="*/ 32 h 64"/>
                    <a:gd name="T10" fmla="*/ 21 w 67"/>
                    <a:gd name="T11" fmla="*/ 34 h 64"/>
                    <a:gd name="T12" fmla="*/ 21 w 67"/>
                    <a:gd name="T13" fmla="*/ 47 h 64"/>
                    <a:gd name="T14" fmla="*/ 2 w 67"/>
                    <a:gd name="T15" fmla="*/ 47 h 64"/>
                    <a:gd name="T16" fmla="*/ 0 w 67"/>
                    <a:gd name="T17" fmla="*/ 49 h 64"/>
                    <a:gd name="T18" fmla="*/ 0 w 67"/>
                    <a:gd name="T19" fmla="*/ 62 h 64"/>
                    <a:gd name="T20" fmla="*/ 2 w 67"/>
                    <a:gd name="T21" fmla="*/ 64 h 64"/>
                    <a:gd name="T22" fmla="*/ 23 w 67"/>
                    <a:gd name="T23" fmla="*/ 64 h 64"/>
                    <a:gd name="T24" fmla="*/ 44 w 67"/>
                    <a:gd name="T25" fmla="*/ 64 h 64"/>
                    <a:gd name="T26" fmla="*/ 65 w 67"/>
                    <a:gd name="T27" fmla="*/ 64 h 64"/>
                    <a:gd name="T28" fmla="*/ 67 w 67"/>
                    <a:gd name="T29" fmla="*/ 62 h 64"/>
                    <a:gd name="T30" fmla="*/ 67 w 67"/>
                    <a:gd name="T31" fmla="*/ 43 h 64"/>
                    <a:gd name="T32" fmla="*/ 65 w 67"/>
                    <a:gd name="T33" fmla="*/ 41 h 64"/>
                    <a:gd name="T34" fmla="*/ 45 w 67"/>
                    <a:gd name="T35" fmla="*/ 61 h 64"/>
                    <a:gd name="T36" fmla="*/ 45 w 67"/>
                    <a:gd name="T37" fmla="*/ 44 h 64"/>
                    <a:gd name="T38" fmla="*/ 64 w 67"/>
                    <a:gd name="T39" fmla="*/ 44 h 64"/>
                    <a:gd name="T40" fmla="*/ 64 w 67"/>
                    <a:gd name="T41" fmla="*/ 61 h 64"/>
                    <a:gd name="T42" fmla="*/ 45 w 67"/>
                    <a:gd name="T43" fmla="*/ 61 h 64"/>
                    <a:gd name="T44" fmla="*/ 24 w 67"/>
                    <a:gd name="T45" fmla="*/ 49 h 64"/>
                    <a:gd name="T46" fmla="*/ 24 w 67"/>
                    <a:gd name="T47" fmla="*/ 35 h 64"/>
                    <a:gd name="T48" fmla="*/ 43 w 67"/>
                    <a:gd name="T49" fmla="*/ 35 h 64"/>
                    <a:gd name="T50" fmla="*/ 43 w 67"/>
                    <a:gd name="T51" fmla="*/ 43 h 64"/>
                    <a:gd name="T52" fmla="*/ 43 w 67"/>
                    <a:gd name="T53" fmla="*/ 61 h 64"/>
                    <a:gd name="T54" fmla="*/ 24 w 67"/>
                    <a:gd name="T55" fmla="*/ 61 h 64"/>
                    <a:gd name="T56" fmla="*/ 24 w 67"/>
                    <a:gd name="T57" fmla="*/ 49 h 64"/>
                    <a:gd name="T58" fmla="*/ 22 w 67"/>
                    <a:gd name="T59" fmla="*/ 61 h 64"/>
                    <a:gd name="T60" fmla="*/ 3 w 67"/>
                    <a:gd name="T61" fmla="*/ 61 h 64"/>
                    <a:gd name="T62" fmla="*/ 3 w 67"/>
                    <a:gd name="T63" fmla="*/ 50 h 64"/>
                    <a:gd name="T64" fmla="*/ 22 w 67"/>
                    <a:gd name="T65" fmla="*/ 50 h 64"/>
                    <a:gd name="T66" fmla="*/ 22 w 67"/>
                    <a:gd name="T67" fmla="*/ 61 h 64"/>
                    <a:gd name="T68" fmla="*/ 32 w 67"/>
                    <a:gd name="T69" fmla="*/ 20 h 64"/>
                    <a:gd name="T70" fmla="*/ 32 w 67"/>
                    <a:gd name="T71" fmla="*/ 9 h 64"/>
                    <a:gd name="T72" fmla="*/ 30 w 67"/>
                    <a:gd name="T73" fmla="*/ 10 h 64"/>
                    <a:gd name="T74" fmla="*/ 29 w 67"/>
                    <a:gd name="T75" fmla="*/ 10 h 64"/>
                    <a:gd name="T76" fmla="*/ 29 w 67"/>
                    <a:gd name="T77" fmla="*/ 9 h 64"/>
                    <a:gd name="T78" fmla="*/ 33 w 67"/>
                    <a:gd name="T79" fmla="*/ 6 h 64"/>
                    <a:gd name="T80" fmla="*/ 34 w 67"/>
                    <a:gd name="T81" fmla="*/ 6 h 64"/>
                    <a:gd name="T82" fmla="*/ 34 w 67"/>
                    <a:gd name="T83" fmla="*/ 7 h 64"/>
                    <a:gd name="T84" fmla="*/ 34 w 67"/>
                    <a:gd name="T85" fmla="*/ 20 h 64"/>
                    <a:gd name="T86" fmla="*/ 37 w 67"/>
                    <a:gd name="T87" fmla="*/ 20 h 64"/>
                    <a:gd name="T88" fmla="*/ 38 w 67"/>
                    <a:gd name="T89" fmla="*/ 21 h 64"/>
                    <a:gd name="T90" fmla="*/ 37 w 67"/>
                    <a:gd name="T91" fmla="*/ 22 h 64"/>
                    <a:gd name="T92" fmla="*/ 30 w 67"/>
                    <a:gd name="T93" fmla="*/ 22 h 64"/>
                    <a:gd name="T94" fmla="*/ 29 w 67"/>
                    <a:gd name="T95" fmla="*/ 21 h 64"/>
                    <a:gd name="T96" fmla="*/ 30 w 67"/>
                    <a:gd name="T97" fmla="*/ 20 h 64"/>
                    <a:gd name="T98" fmla="*/ 32 w 67"/>
                    <a:gd name="T99" fmla="*/ 20 h 64"/>
                    <a:gd name="T100" fmla="*/ 33 w 67"/>
                    <a:gd name="T101" fmla="*/ 28 h 64"/>
                    <a:gd name="T102" fmla="*/ 47 w 67"/>
                    <a:gd name="T103" fmla="*/ 14 h 64"/>
                    <a:gd name="T104" fmla="*/ 33 w 67"/>
                    <a:gd name="T105" fmla="*/ 0 h 64"/>
                    <a:gd name="T106" fmla="*/ 20 w 67"/>
                    <a:gd name="T107" fmla="*/ 14 h 64"/>
                    <a:gd name="T108" fmla="*/ 33 w 67"/>
                    <a:gd name="T109" fmla="*/ 28 h 64"/>
                    <a:gd name="T110" fmla="*/ 33 w 67"/>
                    <a:gd name="T111" fmla="*/ 3 h 64"/>
                    <a:gd name="T112" fmla="*/ 44 w 67"/>
                    <a:gd name="T113" fmla="*/ 14 h 64"/>
                    <a:gd name="T114" fmla="*/ 33 w 67"/>
                    <a:gd name="T115" fmla="*/ 25 h 64"/>
                    <a:gd name="T116" fmla="*/ 23 w 67"/>
                    <a:gd name="T117" fmla="*/ 14 h 64"/>
                    <a:gd name="T118" fmla="*/ 33 w 67"/>
                    <a:gd name="T119" fmla="*/ 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67" h="64">
                      <a:moveTo>
                        <a:pt x="65" y="41"/>
                      </a:moveTo>
                      <a:cubicBezTo>
                        <a:pt x="46" y="41"/>
                        <a:pt x="46" y="41"/>
                        <a:pt x="46" y="41"/>
                      </a:cubicBezTo>
                      <a:cubicBezTo>
                        <a:pt x="46" y="34"/>
                        <a:pt x="46" y="34"/>
                        <a:pt x="46" y="34"/>
                      </a:cubicBezTo>
                      <a:cubicBezTo>
                        <a:pt x="46" y="32"/>
                        <a:pt x="45" y="32"/>
                        <a:pt x="44" y="32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2" y="32"/>
                        <a:pt x="21" y="32"/>
                        <a:pt x="21" y="34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" y="47"/>
                        <a:pt x="2" y="47"/>
                        <a:pt x="2" y="47"/>
                      </a:cubicBezTo>
                      <a:cubicBezTo>
                        <a:pt x="1" y="47"/>
                        <a:pt x="0" y="48"/>
                        <a:pt x="0" y="49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3"/>
                        <a:pt x="1" y="64"/>
                        <a:pt x="2" y="64"/>
                      </a:cubicBezTo>
                      <a:cubicBezTo>
                        <a:pt x="23" y="64"/>
                        <a:pt x="23" y="64"/>
                        <a:pt x="23" y="64"/>
                      </a:cubicBezTo>
                      <a:cubicBezTo>
                        <a:pt x="44" y="64"/>
                        <a:pt x="44" y="64"/>
                        <a:pt x="44" y="64"/>
                      </a:cubicBezTo>
                      <a:cubicBezTo>
                        <a:pt x="65" y="64"/>
                        <a:pt x="65" y="64"/>
                        <a:pt x="65" y="64"/>
                      </a:cubicBezTo>
                      <a:cubicBezTo>
                        <a:pt x="66" y="64"/>
                        <a:pt x="67" y="63"/>
                        <a:pt x="67" y="62"/>
                      </a:cubicBezTo>
                      <a:cubicBezTo>
                        <a:pt x="67" y="43"/>
                        <a:pt x="67" y="43"/>
                        <a:pt x="67" y="43"/>
                      </a:cubicBezTo>
                      <a:cubicBezTo>
                        <a:pt x="67" y="42"/>
                        <a:pt x="66" y="41"/>
                        <a:pt x="65" y="41"/>
                      </a:cubicBezTo>
                      <a:close/>
                      <a:moveTo>
                        <a:pt x="45" y="61"/>
                      </a:moveTo>
                      <a:cubicBezTo>
                        <a:pt x="45" y="44"/>
                        <a:pt x="45" y="44"/>
                        <a:pt x="45" y="44"/>
                      </a:cubicBezTo>
                      <a:cubicBezTo>
                        <a:pt x="64" y="44"/>
                        <a:pt x="64" y="44"/>
                        <a:pt x="64" y="44"/>
                      </a:cubicBezTo>
                      <a:cubicBezTo>
                        <a:pt x="64" y="61"/>
                        <a:pt x="64" y="61"/>
                        <a:pt x="64" y="61"/>
                      </a:cubicBezTo>
                      <a:lnTo>
                        <a:pt x="45" y="61"/>
                      </a:lnTo>
                      <a:close/>
                      <a:moveTo>
                        <a:pt x="24" y="49"/>
                      </a:move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3" y="61"/>
                        <a:pt x="43" y="61"/>
                        <a:pt x="43" y="61"/>
                      </a:cubicBezTo>
                      <a:cubicBezTo>
                        <a:pt x="24" y="61"/>
                        <a:pt x="24" y="61"/>
                        <a:pt x="24" y="61"/>
                      </a:cubicBezTo>
                      <a:lnTo>
                        <a:pt x="24" y="49"/>
                      </a:lnTo>
                      <a:close/>
                      <a:moveTo>
                        <a:pt x="22" y="61"/>
                      </a:moveTo>
                      <a:cubicBezTo>
                        <a:pt x="3" y="61"/>
                        <a:pt x="3" y="61"/>
                        <a:pt x="3" y="61"/>
                      </a:cubicBezTo>
                      <a:cubicBezTo>
                        <a:pt x="3" y="50"/>
                        <a:pt x="3" y="50"/>
                        <a:pt x="3" y="50"/>
                      </a:cubicBezTo>
                      <a:cubicBezTo>
                        <a:pt x="22" y="50"/>
                        <a:pt x="22" y="50"/>
                        <a:pt x="22" y="50"/>
                      </a:cubicBezTo>
                      <a:lnTo>
                        <a:pt x="22" y="61"/>
                      </a:lnTo>
                      <a:close/>
                      <a:moveTo>
                        <a:pt x="32" y="20"/>
                      </a:moveTo>
                      <a:cubicBezTo>
                        <a:pt x="32" y="9"/>
                        <a:pt x="32" y="9"/>
                        <a:pt x="32" y="9"/>
                      </a:cubicBezTo>
                      <a:cubicBezTo>
                        <a:pt x="30" y="10"/>
                        <a:pt x="30" y="10"/>
                        <a:pt x="30" y="10"/>
                      </a:cubicBezTo>
                      <a:cubicBezTo>
                        <a:pt x="30" y="11"/>
                        <a:pt x="29" y="11"/>
                        <a:pt x="29" y="10"/>
                      </a:cubicBezTo>
                      <a:cubicBezTo>
                        <a:pt x="29" y="10"/>
                        <a:pt x="29" y="9"/>
                        <a:pt x="29" y="9"/>
                      </a:cubicBezTo>
                      <a:cubicBezTo>
                        <a:pt x="33" y="6"/>
                        <a:pt x="33" y="6"/>
                        <a:pt x="33" y="6"/>
                      </a:cubicBezTo>
                      <a:cubicBezTo>
                        <a:pt x="33" y="6"/>
                        <a:pt x="33" y="6"/>
                        <a:pt x="34" y="6"/>
                      </a:cubicBezTo>
                      <a:cubicBezTo>
                        <a:pt x="34" y="6"/>
                        <a:pt x="34" y="7"/>
                        <a:pt x="34" y="7"/>
                      </a:cubicBezTo>
                      <a:cubicBezTo>
                        <a:pt x="34" y="20"/>
                        <a:pt x="34" y="20"/>
                        <a:pt x="34" y="20"/>
                      </a:cubicBez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37" y="20"/>
                        <a:pt x="38" y="21"/>
                        <a:pt x="38" y="21"/>
                      </a:cubicBezTo>
                      <a:cubicBezTo>
                        <a:pt x="38" y="22"/>
                        <a:pt x="37" y="22"/>
                        <a:pt x="37" y="22"/>
                      </a:cubicBezTo>
                      <a:cubicBezTo>
                        <a:pt x="30" y="22"/>
                        <a:pt x="30" y="22"/>
                        <a:pt x="30" y="22"/>
                      </a:cubicBezTo>
                      <a:cubicBezTo>
                        <a:pt x="29" y="22"/>
                        <a:pt x="29" y="22"/>
                        <a:pt x="29" y="21"/>
                      </a:cubicBezTo>
                      <a:cubicBezTo>
                        <a:pt x="29" y="21"/>
                        <a:pt x="29" y="20"/>
                        <a:pt x="30" y="20"/>
                      </a:cubicBezTo>
                      <a:lnTo>
                        <a:pt x="32" y="20"/>
                      </a:lnTo>
                      <a:close/>
                      <a:moveTo>
                        <a:pt x="33" y="28"/>
                      </a:moveTo>
                      <a:cubicBezTo>
                        <a:pt x="41" y="28"/>
                        <a:pt x="47" y="22"/>
                        <a:pt x="47" y="14"/>
                      </a:cubicBezTo>
                      <a:cubicBezTo>
                        <a:pt x="47" y="7"/>
                        <a:pt x="41" y="0"/>
                        <a:pt x="33" y="0"/>
                      </a:cubicBezTo>
                      <a:cubicBezTo>
                        <a:pt x="26" y="0"/>
                        <a:pt x="20" y="7"/>
                        <a:pt x="20" y="14"/>
                      </a:cubicBezTo>
                      <a:cubicBezTo>
                        <a:pt x="20" y="22"/>
                        <a:pt x="26" y="28"/>
                        <a:pt x="33" y="28"/>
                      </a:cubicBezTo>
                      <a:close/>
                      <a:moveTo>
                        <a:pt x="33" y="3"/>
                      </a:moveTo>
                      <a:cubicBezTo>
                        <a:pt x="39" y="3"/>
                        <a:pt x="44" y="8"/>
                        <a:pt x="44" y="14"/>
                      </a:cubicBezTo>
                      <a:cubicBezTo>
                        <a:pt x="44" y="20"/>
                        <a:pt x="39" y="25"/>
                        <a:pt x="33" y="25"/>
                      </a:cubicBezTo>
                      <a:cubicBezTo>
                        <a:pt x="27" y="25"/>
                        <a:pt x="23" y="20"/>
                        <a:pt x="23" y="14"/>
                      </a:cubicBezTo>
                      <a:cubicBezTo>
                        <a:pt x="23" y="8"/>
                        <a:pt x="27" y="3"/>
                        <a:pt x="33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4" name="Freeform 31">
                  <a:extLst>
                    <a:ext uri="{FF2B5EF4-FFF2-40B4-BE49-F238E27FC236}">
                      <a16:creationId xmlns:a16="http://schemas.microsoft.com/office/drawing/2014/main" id="{DA5D5239-B152-4388-9DC3-5D3763534F4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97763" y="2460443"/>
                  <a:ext cx="424442" cy="461620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5" name="Freeform 14">
                  <a:extLst>
                    <a:ext uri="{FF2B5EF4-FFF2-40B4-BE49-F238E27FC236}">
                      <a16:creationId xmlns:a16="http://schemas.microsoft.com/office/drawing/2014/main" id="{76641C70-6DB5-4F94-9DAF-6585CDAC19D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63686" y="3178272"/>
                  <a:ext cx="274883" cy="320698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6" name="Freeform 37">
                  <a:extLst>
                    <a:ext uri="{FF2B5EF4-FFF2-40B4-BE49-F238E27FC236}">
                      <a16:creationId xmlns:a16="http://schemas.microsoft.com/office/drawing/2014/main" id="{485A1053-5B90-439A-B22C-F97647B568F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14022" y="3600012"/>
                  <a:ext cx="191882" cy="191884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7" name="Freeform 36">
                  <a:extLst>
                    <a:ext uri="{FF2B5EF4-FFF2-40B4-BE49-F238E27FC236}">
                      <a16:creationId xmlns:a16="http://schemas.microsoft.com/office/drawing/2014/main" id="{FEB801E2-D7C3-48A4-B82D-C90D8585197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318623" y="3816332"/>
                  <a:ext cx="329120" cy="32912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8" name="Freeform 36">
                  <a:extLst>
                    <a:ext uri="{FF2B5EF4-FFF2-40B4-BE49-F238E27FC236}">
                      <a16:creationId xmlns:a16="http://schemas.microsoft.com/office/drawing/2014/main" id="{28499F64-E280-4777-9894-8CD8C72CE7D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31962" y="2574897"/>
                  <a:ext cx="232130" cy="232131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9" name="Freeform 36">
                  <a:extLst>
                    <a:ext uri="{FF2B5EF4-FFF2-40B4-BE49-F238E27FC236}">
                      <a16:creationId xmlns:a16="http://schemas.microsoft.com/office/drawing/2014/main" id="{F5BE4D9B-D7AB-4677-9907-D72EFF97E6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996266" y="2020116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0" name="Freeform 24">
                  <a:extLst>
                    <a:ext uri="{FF2B5EF4-FFF2-40B4-BE49-F238E27FC236}">
                      <a16:creationId xmlns:a16="http://schemas.microsoft.com/office/drawing/2014/main" id="{0ADA43BC-8306-4514-8499-651839D78EF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815448" y="5058781"/>
                  <a:ext cx="357647" cy="377244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1" name="Freeform 34">
                  <a:extLst>
                    <a:ext uri="{FF2B5EF4-FFF2-40B4-BE49-F238E27FC236}">
                      <a16:creationId xmlns:a16="http://schemas.microsoft.com/office/drawing/2014/main" id="{3617BD34-EEB0-45C1-9137-A32BBA18F69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522185" y="2726666"/>
                  <a:ext cx="270999" cy="363536"/>
                </a:xfrm>
                <a:custGeom>
                  <a:avLst/>
                  <a:gdLst>
                    <a:gd name="T0" fmla="*/ 13 w 52"/>
                    <a:gd name="T1" fmla="*/ 18 h 70"/>
                    <a:gd name="T2" fmla="*/ 12 w 52"/>
                    <a:gd name="T3" fmla="*/ 17 h 70"/>
                    <a:gd name="T4" fmla="*/ 11 w 52"/>
                    <a:gd name="T5" fmla="*/ 15 h 70"/>
                    <a:gd name="T6" fmla="*/ 51 w 52"/>
                    <a:gd name="T7" fmla="*/ 50 h 70"/>
                    <a:gd name="T8" fmla="*/ 49 w 52"/>
                    <a:gd name="T9" fmla="*/ 60 h 70"/>
                    <a:gd name="T10" fmla="*/ 51 w 52"/>
                    <a:gd name="T11" fmla="*/ 69 h 70"/>
                    <a:gd name="T12" fmla="*/ 0 w 52"/>
                    <a:gd name="T13" fmla="*/ 69 h 70"/>
                    <a:gd name="T14" fmla="*/ 1 w 52"/>
                    <a:gd name="T15" fmla="*/ 60 h 70"/>
                    <a:gd name="T16" fmla="*/ 4 w 52"/>
                    <a:gd name="T17" fmla="*/ 45 h 70"/>
                    <a:gd name="T18" fmla="*/ 19 w 52"/>
                    <a:gd name="T19" fmla="*/ 27 h 70"/>
                    <a:gd name="T20" fmla="*/ 15 w 52"/>
                    <a:gd name="T21" fmla="*/ 30 h 70"/>
                    <a:gd name="T22" fmla="*/ 10 w 52"/>
                    <a:gd name="T23" fmla="*/ 34 h 70"/>
                    <a:gd name="T24" fmla="*/ 2 w 52"/>
                    <a:gd name="T25" fmla="*/ 28 h 70"/>
                    <a:gd name="T26" fmla="*/ 8 w 52"/>
                    <a:gd name="T27" fmla="*/ 14 h 70"/>
                    <a:gd name="T28" fmla="*/ 13 w 52"/>
                    <a:gd name="T29" fmla="*/ 5 h 70"/>
                    <a:gd name="T30" fmla="*/ 12 w 52"/>
                    <a:gd name="T31" fmla="*/ 0 h 70"/>
                    <a:gd name="T32" fmla="*/ 12 w 52"/>
                    <a:gd name="T33" fmla="*/ 0 h 70"/>
                    <a:gd name="T34" fmla="*/ 14 w 52"/>
                    <a:gd name="T35" fmla="*/ 0 h 70"/>
                    <a:gd name="T36" fmla="*/ 43 w 52"/>
                    <a:gd name="T37" fmla="*/ 13 h 70"/>
                    <a:gd name="T38" fmla="*/ 51 w 52"/>
                    <a:gd name="T39" fmla="*/ 47 h 70"/>
                    <a:gd name="T40" fmla="*/ 2 w 52"/>
                    <a:gd name="T41" fmla="*/ 62 h 70"/>
                    <a:gd name="T42" fmla="*/ 48 w 52"/>
                    <a:gd name="T43" fmla="*/ 62 h 70"/>
                    <a:gd name="T44" fmla="*/ 2 w 52"/>
                    <a:gd name="T45" fmla="*/ 62 h 70"/>
                    <a:gd name="T46" fmla="*/ 6 w 52"/>
                    <a:gd name="T47" fmla="*/ 56 h 70"/>
                    <a:gd name="T48" fmla="*/ 44 w 52"/>
                    <a:gd name="T49" fmla="*/ 60 h 70"/>
                    <a:gd name="T50" fmla="*/ 12 w 52"/>
                    <a:gd name="T51" fmla="*/ 41 h 70"/>
                    <a:gd name="T52" fmla="*/ 6 w 52"/>
                    <a:gd name="T53" fmla="*/ 54 h 70"/>
                    <a:gd name="T54" fmla="*/ 15 w 52"/>
                    <a:gd name="T55" fmla="*/ 42 h 70"/>
                    <a:gd name="T56" fmla="*/ 12 w 52"/>
                    <a:gd name="T57" fmla="*/ 48 h 70"/>
                    <a:gd name="T58" fmla="*/ 41 w 52"/>
                    <a:gd name="T59" fmla="*/ 54 h 70"/>
                    <a:gd name="T60" fmla="*/ 39 w 52"/>
                    <a:gd name="T61" fmla="*/ 17 h 70"/>
                    <a:gd name="T62" fmla="*/ 22 w 52"/>
                    <a:gd name="T63" fmla="*/ 6 h 70"/>
                    <a:gd name="T64" fmla="*/ 20 w 52"/>
                    <a:gd name="T65" fmla="*/ 5 h 70"/>
                    <a:gd name="T66" fmla="*/ 18 w 52"/>
                    <a:gd name="T67" fmla="*/ 4 h 70"/>
                    <a:gd name="T68" fmla="*/ 19 w 52"/>
                    <a:gd name="T69" fmla="*/ 7 h 70"/>
                    <a:gd name="T70" fmla="*/ 17 w 52"/>
                    <a:gd name="T71" fmla="*/ 8 h 70"/>
                    <a:gd name="T72" fmla="*/ 11 w 52"/>
                    <a:gd name="T73" fmla="*/ 14 h 70"/>
                    <a:gd name="T74" fmla="*/ 4 w 52"/>
                    <a:gd name="T75" fmla="*/ 28 h 70"/>
                    <a:gd name="T76" fmla="*/ 10 w 52"/>
                    <a:gd name="T77" fmla="*/ 31 h 70"/>
                    <a:gd name="T78" fmla="*/ 16 w 52"/>
                    <a:gd name="T79" fmla="*/ 25 h 70"/>
                    <a:gd name="T80" fmla="*/ 21 w 52"/>
                    <a:gd name="T81" fmla="*/ 25 h 70"/>
                    <a:gd name="T82" fmla="*/ 30 w 52"/>
                    <a:gd name="T83" fmla="*/ 19 h 70"/>
                    <a:gd name="T84" fmla="*/ 44 w 52"/>
                    <a:gd name="T85" fmla="*/ 36 h 70"/>
                    <a:gd name="T86" fmla="*/ 40 w 52"/>
                    <a:gd name="T87" fmla="*/ 16 h 70"/>
                    <a:gd name="T88" fmla="*/ 43 w 52"/>
                    <a:gd name="T89" fmla="*/ 53 h 70"/>
                    <a:gd name="T90" fmla="*/ 44 w 52"/>
                    <a:gd name="T91" fmla="*/ 36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2" h="70">
                      <a:moveTo>
                        <a:pt x="16" y="14"/>
                      </a:moveTo>
                      <a:cubicBezTo>
                        <a:pt x="16" y="15"/>
                        <a:pt x="16" y="15"/>
                        <a:pt x="16" y="15"/>
                      </a:cubicBezTo>
                      <a:cubicBezTo>
                        <a:pt x="13" y="18"/>
                        <a:pt x="13" y="18"/>
                        <a:pt x="13" y="18"/>
                      </a:cubicBezTo>
                      <a:cubicBezTo>
                        <a:pt x="13" y="19"/>
                        <a:pt x="13" y="19"/>
                        <a:pt x="12" y="19"/>
                      </a:cubicBezTo>
                      <a:cubicBezTo>
                        <a:pt x="12" y="19"/>
                        <a:pt x="12" y="19"/>
                        <a:pt x="12" y="19"/>
                      </a:cubicBezTo>
                      <a:cubicBezTo>
                        <a:pt x="11" y="18"/>
                        <a:pt x="11" y="18"/>
                        <a:pt x="12" y="17"/>
                      </a:cubicBezTo>
                      <a:cubicBezTo>
                        <a:pt x="11" y="17"/>
                        <a:pt x="11" y="17"/>
                        <a:pt x="11" y="17"/>
                      </a:cubicBezTo>
                      <a:cubicBezTo>
                        <a:pt x="11" y="17"/>
                        <a:pt x="10" y="17"/>
                        <a:pt x="10" y="16"/>
                      </a:cubicBezTo>
                      <a:cubicBezTo>
                        <a:pt x="10" y="16"/>
                        <a:pt x="10" y="15"/>
                        <a:pt x="11" y="15"/>
                      </a:cubicBez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5" y="14"/>
                        <a:pt x="16" y="14"/>
                        <a:pt x="16" y="14"/>
                      </a:cubicBezTo>
                      <a:close/>
                      <a:moveTo>
                        <a:pt x="51" y="50"/>
                      </a:moveTo>
                      <a:cubicBezTo>
                        <a:pt x="46" y="54"/>
                        <a:pt x="46" y="54"/>
                        <a:pt x="46" y="54"/>
                      </a:cubicBezTo>
                      <a:cubicBezTo>
                        <a:pt x="48" y="55"/>
                        <a:pt x="49" y="56"/>
                        <a:pt x="49" y="58"/>
                      </a:cubicBezTo>
                      <a:cubicBezTo>
                        <a:pt x="49" y="59"/>
                        <a:pt x="49" y="59"/>
                        <a:pt x="49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0" y="60"/>
                        <a:pt x="51" y="60"/>
                        <a:pt x="51" y="61"/>
                      </a:cubicBezTo>
                      <a:cubicBezTo>
                        <a:pt x="51" y="69"/>
                        <a:pt x="51" y="69"/>
                        <a:pt x="51" y="69"/>
                      </a:cubicBezTo>
                      <a:cubicBezTo>
                        <a:pt x="51" y="69"/>
                        <a:pt x="50" y="70"/>
                        <a:pt x="49" y="70"/>
                      </a:cubicBezTo>
                      <a:cubicBezTo>
                        <a:pt x="1" y="70"/>
                        <a:pt x="1" y="70"/>
                        <a:pt x="1" y="70"/>
                      </a:cubicBezTo>
                      <a:cubicBezTo>
                        <a:pt x="0" y="70"/>
                        <a:pt x="0" y="69"/>
                        <a:pt x="0" y="69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0" y="60"/>
                        <a:pt x="0" y="60"/>
                        <a:pt x="1" y="60"/>
                      </a:cubicBezTo>
                      <a:cubicBezTo>
                        <a:pt x="1" y="60"/>
                        <a:pt x="1" y="60"/>
                        <a:pt x="1" y="60"/>
                      </a:cubicBezTo>
                      <a:cubicBezTo>
                        <a:pt x="1" y="59"/>
                        <a:pt x="1" y="59"/>
                        <a:pt x="1" y="58"/>
                      </a:cubicBezTo>
                      <a:cubicBezTo>
                        <a:pt x="1" y="57"/>
                        <a:pt x="2" y="55"/>
                        <a:pt x="3" y="54"/>
                      </a:cubicBezTo>
                      <a:cubicBezTo>
                        <a:pt x="3" y="53"/>
                        <a:pt x="2" y="49"/>
                        <a:pt x="4" y="45"/>
                      </a:cubicBezTo>
                      <a:cubicBezTo>
                        <a:pt x="5" y="43"/>
                        <a:pt x="8" y="41"/>
                        <a:pt x="11" y="39"/>
                      </a:cubicBezTo>
                      <a:cubicBezTo>
                        <a:pt x="13" y="37"/>
                        <a:pt x="16" y="35"/>
                        <a:pt x="18" y="33"/>
                      </a:cubicBezTo>
                      <a:cubicBezTo>
                        <a:pt x="19" y="31"/>
                        <a:pt x="19" y="29"/>
                        <a:pt x="19" y="27"/>
                      </a:cubicBez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8" y="27"/>
                        <a:pt x="17" y="27"/>
                        <a:pt x="16" y="27"/>
                      </a:cubicBezTo>
                      <a:cubicBezTo>
                        <a:pt x="16" y="27"/>
                        <a:pt x="15" y="28"/>
                        <a:pt x="15" y="30"/>
                      </a:cubicBezTo>
                      <a:cubicBezTo>
                        <a:pt x="14" y="31"/>
                        <a:pt x="14" y="32"/>
                        <a:pt x="13" y="32"/>
                      </a:cubicBezTo>
                      <a:cubicBezTo>
                        <a:pt x="13" y="33"/>
                        <a:pt x="12" y="34"/>
                        <a:pt x="10" y="34"/>
                      </a:cubicBezTo>
                      <a:cubicBezTo>
                        <a:pt x="10" y="34"/>
                        <a:pt x="10" y="34"/>
                        <a:pt x="10" y="34"/>
                      </a:cubicBezTo>
                      <a:cubicBezTo>
                        <a:pt x="9" y="34"/>
                        <a:pt x="8" y="33"/>
                        <a:pt x="7" y="32"/>
                      </a:cubicBezTo>
                      <a:cubicBezTo>
                        <a:pt x="6" y="32"/>
                        <a:pt x="6" y="32"/>
                        <a:pt x="5" y="31"/>
                      </a:cubicBezTo>
                      <a:cubicBezTo>
                        <a:pt x="4" y="31"/>
                        <a:pt x="2" y="30"/>
                        <a:pt x="2" y="28"/>
                      </a:cubicBezTo>
                      <a:cubicBezTo>
                        <a:pt x="2" y="27"/>
                        <a:pt x="2" y="27"/>
                        <a:pt x="2" y="27"/>
                      </a:cubicBezTo>
                      <a:cubicBezTo>
                        <a:pt x="2" y="25"/>
                        <a:pt x="2" y="23"/>
                        <a:pt x="4" y="20"/>
                      </a:cubicBezTo>
                      <a:cubicBezTo>
                        <a:pt x="7" y="17"/>
                        <a:pt x="8" y="15"/>
                        <a:pt x="8" y="14"/>
                      </a:cubicBezTo>
                      <a:cubicBezTo>
                        <a:pt x="8" y="13"/>
                        <a:pt x="8" y="13"/>
                        <a:pt x="8" y="13"/>
                      </a:cubicBezTo>
                      <a:cubicBezTo>
                        <a:pt x="8" y="13"/>
                        <a:pt x="9" y="12"/>
                        <a:pt x="14" y="6"/>
                      </a:cubicBezTo>
                      <a:cubicBezTo>
                        <a:pt x="14" y="6"/>
                        <a:pt x="14" y="5"/>
                        <a:pt x="13" y="5"/>
                      </a:cubicBezTo>
                      <a:cubicBezTo>
                        <a:pt x="13" y="4"/>
                        <a:pt x="12" y="2"/>
                        <a:pt x="12" y="2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8" y="1"/>
                        <a:pt x="20" y="2"/>
                      </a:cubicBezTo>
                      <a:cubicBezTo>
                        <a:pt x="21" y="2"/>
                        <a:pt x="23" y="2"/>
                        <a:pt x="24" y="2"/>
                      </a:cubicBezTo>
                      <a:cubicBezTo>
                        <a:pt x="30" y="2"/>
                        <a:pt x="37" y="4"/>
                        <a:pt x="43" y="13"/>
                      </a:cubicBezTo>
                      <a:cubicBezTo>
                        <a:pt x="48" y="22"/>
                        <a:pt x="47" y="30"/>
                        <a:pt x="47" y="36"/>
                      </a:cubicBezTo>
                      <a:cubicBezTo>
                        <a:pt x="47" y="39"/>
                        <a:pt x="46" y="41"/>
                        <a:pt x="47" y="42"/>
                      </a:cubicBezTo>
                      <a:cubicBezTo>
                        <a:pt x="48" y="45"/>
                        <a:pt x="51" y="47"/>
                        <a:pt x="51" y="47"/>
                      </a:cubicBezTo>
                      <a:cubicBezTo>
                        <a:pt x="52" y="48"/>
                        <a:pt x="52" y="48"/>
                        <a:pt x="52" y="48"/>
                      </a:cubicBezTo>
                      <a:cubicBezTo>
                        <a:pt x="52" y="49"/>
                        <a:pt x="52" y="49"/>
                        <a:pt x="51" y="50"/>
                      </a:cubicBezTo>
                      <a:close/>
                      <a:moveTo>
                        <a:pt x="2" y="62"/>
                      </a:moveTo>
                      <a:cubicBezTo>
                        <a:pt x="2" y="68"/>
                        <a:pt x="2" y="68"/>
                        <a:pt x="2" y="68"/>
                      </a:cubicBezTo>
                      <a:cubicBezTo>
                        <a:pt x="48" y="68"/>
                        <a:pt x="48" y="68"/>
                        <a:pt x="48" y="68"/>
                      </a:cubicBezTo>
                      <a:cubicBezTo>
                        <a:pt x="48" y="62"/>
                        <a:pt x="48" y="62"/>
                        <a:pt x="48" y="62"/>
                      </a:cubicBezTo>
                      <a:cubicBezTo>
                        <a:pt x="44" y="62"/>
                        <a:pt x="44" y="62"/>
                        <a:pt x="44" y="62"/>
                      </a:cubicBezTo>
                      <a:cubicBezTo>
                        <a:pt x="6" y="62"/>
                        <a:pt x="6" y="62"/>
                        <a:pt x="6" y="62"/>
                      </a:cubicBezTo>
                      <a:lnTo>
                        <a:pt x="2" y="62"/>
                      </a:lnTo>
                      <a:close/>
                      <a:moveTo>
                        <a:pt x="47" y="58"/>
                      </a:moveTo>
                      <a:cubicBezTo>
                        <a:pt x="47" y="57"/>
                        <a:pt x="46" y="56"/>
                        <a:pt x="44" y="56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4" y="56"/>
                        <a:pt x="3" y="57"/>
                        <a:pt x="3" y="58"/>
                      </a:cubicBezTo>
                      <a:cubicBezTo>
                        <a:pt x="3" y="59"/>
                        <a:pt x="4" y="60"/>
                        <a:pt x="6" y="60"/>
                      </a:cubicBezTo>
                      <a:cubicBezTo>
                        <a:pt x="44" y="60"/>
                        <a:pt x="44" y="60"/>
                        <a:pt x="44" y="60"/>
                      </a:cubicBezTo>
                      <a:cubicBezTo>
                        <a:pt x="46" y="60"/>
                        <a:pt x="47" y="59"/>
                        <a:pt x="47" y="58"/>
                      </a:cubicBezTo>
                      <a:close/>
                      <a:moveTo>
                        <a:pt x="20" y="34"/>
                      </a:moveTo>
                      <a:cubicBezTo>
                        <a:pt x="18" y="36"/>
                        <a:pt x="15" y="39"/>
                        <a:pt x="12" y="41"/>
                      </a:cubicBezTo>
                      <a:cubicBezTo>
                        <a:pt x="10" y="43"/>
                        <a:pt x="7" y="45"/>
                        <a:pt x="7" y="46"/>
                      </a:cubicBezTo>
                      <a:cubicBezTo>
                        <a:pt x="4" y="50"/>
                        <a:pt x="6" y="54"/>
                        <a:pt x="6" y="54"/>
                      </a:cubicBezTo>
                      <a:cubicBezTo>
                        <a:pt x="6" y="54"/>
                        <a:pt x="6" y="54"/>
                        <a:pt x="6" y="54"/>
                      </a:cubicBez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3"/>
                        <a:pt x="8" y="49"/>
                        <a:pt x="10" y="46"/>
                      </a:cubicBezTo>
                      <a:cubicBezTo>
                        <a:pt x="13" y="44"/>
                        <a:pt x="15" y="42"/>
                        <a:pt x="15" y="42"/>
                      </a:cubicBezTo>
                      <a:cubicBezTo>
                        <a:pt x="16" y="42"/>
                        <a:pt x="16" y="42"/>
                        <a:pt x="17" y="43"/>
                      </a:cubicBezTo>
                      <a:cubicBezTo>
                        <a:pt x="17" y="43"/>
                        <a:pt x="17" y="44"/>
                        <a:pt x="16" y="44"/>
                      </a:cubicBezTo>
                      <a:cubicBezTo>
                        <a:pt x="16" y="44"/>
                        <a:pt x="14" y="46"/>
                        <a:pt x="12" y="48"/>
                      </a:cubicBezTo>
                      <a:cubicBezTo>
                        <a:pt x="10" y="50"/>
                        <a:pt x="10" y="54"/>
                        <a:pt x="1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41" y="54"/>
                        <a:pt x="41" y="54"/>
                        <a:pt x="41" y="54"/>
                      </a:cubicBezTo>
                      <a:cubicBezTo>
                        <a:pt x="41" y="53"/>
                        <a:pt x="39" y="49"/>
                        <a:pt x="39" y="45"/>
                      </a:cubicBezTo>
                      <a:cubicBezTo>
                        <a:pt x="39" y="44"/>
                        <a:pt x="39" y="42"/>
                        <a:pt x="40" y="40"/>
                      </a:cubicBezTo>
                      <a:cubicBezTo>
                        <a:pt x="40" y="35"/>
                        <a:pt x="42" y="26"/>
                        <a:pt x="39" y="17"/>
                      </a:cubicBezTo>
                      <a:cubicBezTo>
                        <a:pt x="35" y="7"/>
                        <a:pt x="26" y="6"/>
                        <a:pt x="23" y="6"/>
                      </a:cubicBezTo>
                      <a:cubicBezTo>
                        <a:pt x="23" y="6"/>
                        <a:pt x="22" y="7"/>
                        <a:pt x="22" y="7"/>
                      </a:cubicBezTo>
                      <a:cubicBezTo>
                        <a:pt x="22" y="7"/>
                        <a:pt x="22" y="6"/>
                        <a:pt x="22" y="6"/>
                      </a:cubicBezTo>
                      <a:cubicBezTo>
                        <a:pt x="22" y="6"/>
                        <a:pt x="21" y="6"/>
                        <a:pt x="21" y="6"/>
                      </a:cubicBezTo>
                      <a:cubicBezTo>
                        <a:pt x="21" y="6"/>
                        <a:pt x="21" y="6"/>
                        <a:pt x="21" y="6"/>
                      </a:cubicBezTo>
                      <a:cubicBezTo>
                        <a:pt x="20" y="6"/>
                        <a:pt x="20" y="5"/>
                        <a:pt x="20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9" y="5"/>
                        <a:pt x="18" y="5"/>
                        <a:pt x="18" y="4"/>
                      </a:cubicBezTo>
                      <a:cubicBezTo>
                        <a:pt x="18" y="4"/>
                        <a:pt x="18" y="4"/>
                        <a:pt x="18" y="4"/>
                      </a:cubicBezTo>
                      <a:cubicBezTo>
                        <a:pt x="17" y="4"/>
                        <a:pt x="17" y="3"/>
                        <a:pt x="16" y="3"/>
                      </a:cubicBezTo>
                      <a:cubicBezTo>
                        <a:pt x="18" y="7"/>
                        <a:pt x="18" y="7"/>
                        <a:pt x="18" y="7"/>
                      </a:cubicBezTo>
                      <a:cubicBezTo>
                        <a:pt x="19" y="7"/>
                        <a:pt x="19" y="7"/>
                        <a:pt x="19" y="7"/>
                      </a:cubicBezTo>
                      <a:cubicBezTo>
                        <a:pt x="19" y="8"/>
                        <a:pt x="18" y="8"/>
                        <a:pt x="18" y="8"/>
                      </a:cubicBezTo>
                      <a:cubicBezTo>
                        <a:pt x="18" y="8"/>
                        <a:pt x="18" y="8"/>
                        <a:pt x="18" y="8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7" y="8"/>
                        <a:pt x="17" y="8"/>
                        <a:pt x="16" y="7"/>
                      </a:cubicBezTo>
                      <a:cubicBezTo>
                        <a:pt x="14" y="10"/>
                        <a:pt x="11" y="13"/>
                        <a:pt x="11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0" y="15"/>
                        <a:pt x="10" y="18"/>
                        <a:pt x="6" y="22"/>
                      </a:cubicBezTo>
                      <a:cubicBezTo>
                        <a:pt x="4" y="24"/>
                        <a:pt x="4" y="26"/>
                        <a:pt x="4" y="27"/>
                      </a:cubicBez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4" y="28"/>
                        <a:pt x="5" y="29"/>
                        <a:pt x="6" y="29"/>
                      </a:cubicBezTo>
                      <a:cubicBezTo>
                        <a:pt x="7" y="30"/>
                        <a:pt x="8" y="30"/>
                        <a:pt x="9" y="31"/>
                      </a:cubicBezTo>
                      <a:cubicBezTo>
                        <a:pt x="9" y="31"/>
                        <a:pt x="10" y="31"/>
                        <a:pt x="10" y="31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2" y="30"/>
                        <a:pt x="12" y="30"/>
                        <a:pt x="12" y="29"/>
                      </a:cubicBezTo>
                      <a:cubicBezTo>
                        <a:pt x="13" y="27"/>
                        <a:pt x="14" y="24"/>
                        <a:pt x="16" y="25"/>
                      </a:cubicBezTo>
                      <a:cubicBezTo>
                        <a:pt x="18" y="25"/>
                        <a:pt x="19" y="25"/>
                        <a:pt x="20" y="25"/>
                      </a:cubicBezTo>
                      <a:cubicBezTo>
                        <a:pt x="20" y="25"/>
                        <a:pt x="20" y="24"/>
                        <a:pt x="20" y="24"/>
                      </a:cubicBezTo>
                      <a:cubicBezTo>
                        <a:pt x="21" y="24"/>
                        <a:pt x="21" y="24"/>
                        <a:pt x="21" y="25"/>
                      </a:cubicBezTo>
                      <a:cubicBezTo>
                        <a:pt x="26" y="24"/>
                        <a:pt x="27" y="19"/>
                        <a:pt x="28" y="19"/>
                      </a:cubicBezTo>
                      <a:cubicBezTo>
                        <a:pt x="28" y="18"/>
                        <a:pt x="28" y="18"/>
                        <a:pt x="29" y="18"/>
                      </a:cubicBezTo>
                      <a:cubicBezTo>
                        <a:pt x="29" y="18"/>
                        <a:pt x="30" y="19"/>
                        <a:pt x="30" y="19"/>
                      </a:cubicBezTo>
                      <a:cubicBezTo>
                        <a:pt x="29" y="19"/>
                        <a:pt x="28" y="25"/>
                        <a:pt x="22" y="27"/>
                      </a:cubicBezTo>
                      <a:cubicBezTo>
                        <a:pt x="22" y="29"/>
                        <a:pt x="21" y="32"/>
                        <a:pt x="20" y="34"/>
                      </a:cubicBezTo>
                      <a:close/>
                      <a:moveTo>
                        <a:pt x="44" y="36"/>
                      </a:moveTo>
                      <a:cubicBezTo>
                        <a:pt x="45" y="30"/>
                        <a:pt x="45" y="22"/>
                        <a:pt x="40" y="14"/>
                      </a:cubicBezTo>
                      <a:cubicBezTo>
                        <a:pt x="37" y="8"/>
                        <a:pt x="32" y="6"/>
                        <a:pt x="28" y="5"/>
                      </a:cubicBezTo>
                      <a:cubicBezTo>
                        <a:pt x="33" y="6"/>
                        <a:pt x="38" y="9"/>
                        <a:pt x="40" y="16"/>
                      </a:cubicBezTo>
                      <a:cubicBezTo>
                        <a:pt x="44" y="26"/>
                        <a:pt x="42" y="35"/>
                        <a:pt x="42" y="41"/>
                      </a:cubicBezTo>
                      <a:cubicBezTo>
                        <a:pt x="41" y="42"/>
                        <a:pt x="41" y="44"/>
                        <a:pt x="41" y="45"/>
                      </a:cubicBezTo>
                      <a:cubicBezTo>
                        <a:pt x="41" y="48"/>
                        <a:pt x="42" y="51"/>
                        <a:pt x="43" y="53"/>
                      </a:cubicBezTo>
                      <a:cubicBezTo>
                        <a:pt x="49" y="48"/>
                        <a:pt x="49" y="48"/>
                        <a:pt x="49" y="48"/>
                      </a:cubicBezTo>
                      <a:cubicBezTo>
                        <a:pt x="48" y="47"/>
                        <a:pt x="46" y="45"/>
                        <a:pt x="45" y="43"/>
                      </a:cubicBezTo>
                      <a:cubicBezTo>
                        <a:pt x="44" y="41"/>
                        <a:pt x="44" y="39"/>
                        <a:pt x="44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2" name="Freeform 33">
                  <a:extLst>
                    <a:ext uri="{FF2B5EF4-FFF2-40B4-BE49-F238E27FC236}">
                      <a16:creationId xmlns:a16="http://schemas.microsoft.com/office/drawing/2014/main" id="{035D77AD-50FF-4ED0-B4E8-44A483FEC2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77408" y="3040466"/>
                  <a:ext cx="239605" cy="245450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3" name="Freeform 31">
                  <a:extLst>
                    <a:ext uri="{FF2B5EF4-FFF2-40B4-BE49-F238E27FC236}">
                      <a16:creationId xmlns:a16="http://schemas.microsoft.com/office/drawing/2014/main" id="{DB31A6D5-4B1A-4CB3-87C4-19741FBB70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47377" y="3109171"/>
                  <a:ext cx="290845" cy="316321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4" name="Freeform 85">
                  <a:extLst>
                    <a:ext uri="{FF2B5EF4-FFF2-40B4-BE49-F238E27FC236}">
                      <a16:creationId xmlns:a16="http://schemas.microsoft.com/office/drawing/2014/main" id="{F4471422-54A8-4D8E-AC9F-B6DC6518D7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60994" y="2348196"/>
                  <a:ext cx="250919" cy="188560"/>
                </a:xfrm>
                <a:custGeom>
                  <a:avLst/>
                  <a:gdLst>
                    <a:gd name="T0" fmla="*/ 53 w 71"/>
                    <a:gd name="T1" fmla="*/ 5 h 51"/>
                    <a:gd name="T2" fmla="*/ 0 w 71"/>
                    <a:gd name="T3" fmla="*/ 12 h 51"/>
                    <a:gd name="T4" fmla="*/ 8 w 71"/>
                    <a:gd name="T5" fmla="*/ 33 h 51"/>
                    <a:gd name="T6" fmla="*/ 12 w 71"/>
                    <a:gd name="T7" fmla="*/ 43 h 51"/>
                    <a:gd name="T8" fmla="*/ 46 w 71"/>
                    <a:gd name="T9" fmla="*/ 40 h 51"/>
                    <a:gd name="T10" fmla="*/ 11 w 71"/>
                    <a:gd name="T11" fmla="*/ 35 h 51"/>
                    <a:gd name="T12" fmla="*/ 48 w 71"/>
                    <a:gd name="T13" fmla="*/ 31 h 51"/>
                    <a:gd name="T14" fmla="*/ 56 w 71"/>
                    <a:gd name="T15" fmla="*/ 6 h 51"/>
                    <a:gd name="T16" fmla="*/ 71 w 71"/>
                    <a:gd name="T17" fmla="*/ 2 h 51"/>
                    <a:gd name="T18" fmla="*/ 45 w 71"/>
                    <a:gd name="T19" fmla="*/ 18 h 51"/>
                    <a:gd name="T20" fmla="*/ 49 w 71"/>
                    <a:gd name="T21" fmla="*/ 18 h 51"/>
                    <a:gd name="T22" fmla="*/ 45 w 71"/>
                    <a:gd name="T23" fmla="*/ 20 h 51"/>
                    <a:gd name="T24" fmla="*/ 9 w 71"/>
                    <a:gd name="T25" fmla="*/ 30 h 51"/>
                    <a:gd name="T26" fmla="*/ 12 w 71"/>
                    <a:gd name="T27" fmla="*/ 32 h 51"/>
                    <a:gd name="T28" fmla="*/ 28 w 71"/>
                    <a:gd name="T29" fmla="*/ 18 h 51"/>
                    <a:gd name="T30" fmla="*/ 35 w 71"/>
                    <a:gd name="T31" fmla="*/ 18 h 51"/>
                    <a:gd name="T32" fmla="*/ 43 w 71"/>
                    <a:gd name="T33" fmla="*/ 18 h 51"/>
                    <a:gd name="T34" fmla="*/ 28 w 71"/>
                    <a:gd name="T35" fmla="*/ 20 h 51"/>
                    <a:gd name="T36" fmla="*/ 28 w 71"/>
                    <a:gd name="T37" fmla="*/ 25 h 51"/>
                    <a:gd name="T38" fmla="*/ 21 w 71"/>
                    <a:gd name="T39" fmla="*/ 25 h 51"/>
                    <a:gd name="T40" fmla="*/ 26 w 71"/>
                    <a:gd name="T41" fmla="*/ 25 h 51"/>
                    <a:gd name="T42" fmla="*/ 20 w 71"/>
                    <a:gd name="T43" fmla="*/ 13 h 51"/>
                    <a:gd name="T44" fmla="*/ 18 w 71"/>
                    <a:gd name="T45" fmla="*/ 18 h 51"/>
                    <a:gd name="T46" fmla="*/ 18 w 71"/>
                    <a:gd name="T47" fmla="*/ 13 h 51"/>
                    <a:gd name="T48" fmla="*/ 19 w 71"/>
                    <a:gd name="T49" fmla="*/ 25 h 51"/>
                    <a:gd name="T50" fmla="*/ 18 w 71"/>
                    <a:gd name="T51" fmla="*/ 20 h 51"/>
                    <a:gd name="T52" fmla="*/ 5 w 71"/>
                    <a:gd name="T53" fmla="*/ 20 h 51"/>
                    <a:gd name="T54" fmla="*/ 13 w 71"/>
                    <a:gd name="T55" fmla="*/ 27 h 51"/>
                    <a:gd name="T56" fmla="*/ 14 w 71"/>
                    <a:gd name="T57" fmla="*/ 32 h 51"/>
                    <a:gd name="T58" fmla="*/ 26 w 71"/>
                    <a:gd name="T59" fmla="*/ 27 h 51"/>
                    <a:gd name="T60" fmla="*/ 21 w 71"/>
                    <a:gd name="T61" fmla="*/ 27 h 51"/>
                    <a:gd name="T62" fmla="*/ 33 w 71"/>
                    <a:gd name="T63" fmla="*/ 32 h 51"/>
                    <a:gd name="T64" fmla="*/ 36 w 71"/>
                    <a:gd name="T65" fmla="*/ 27 h 51"/>
                    <a:gd name="T66" fmla="*/ 35 w 71"/>
                    <a:gd name="T67" fmla="*/ 32 h 51"/>
                    <a:gd name="T68" fmla="*/ 37 w 71"/>
                    <a:gd name="T69" fmla="*/ 20 h 51"/>
                    <a:gd name="T70" fmla="*/ 36 w 71"/>
                    <a:gd name="T71" fmla="*/ 25 h 51"/>
                    <a:gd name="T72" fmla="*/ 9 w 71"/>
                    <a:gd name="T73" fmla="*/ 13 h 51"/>
                    <a:gd name="T74" fmla="*/ 3 w 71"/>
                    <a:gd name="T75" fmla="*/ 14 h 51"/>
                    <a:gd name="T76" fmla="*/ 42 w 71"/>
                    <a:gd name="T77" fmla="*/ 32 h 51"/>
                    <a:gd name="T78" fmla="*/ 46 w 71"/>
                    <a:gd name="T79" fmla="*/ 27 h 51"/>
                    <a:gd name="T80" fmla="*/ 13 w 71"/>
                    <a:gd name="T81" fmla="*/ 44 h 51"/>
                    <a:gd name="T82" fmla="*/ 17 w 71"/>
                    <a:gd name="T83" fmla="*/ 48 h 51"/>
                    <a:gd name="T84" fmla="*/ 12 w 71"/>
                    <a:gd name="T85" fmla="*/ 48 h 51"/>
                    <a:gd name="T86" fmla="*/ 13 w 71"/>
                    <a:gd name="T87" fmla="*/ 49 h 51"/>
                    <a:gd name="T88" fmla="*/ 40 w 71"/>
                    <a:gd name="T89" fmla="*/ 51 h 51"/>
                    <a:gd name="T90" fmla="*/ 40 w 71"/>
                    <a:gd name="T91" fmla="*/ 49 h 51"/>
                    <a:gd name="T92" fmla="*/ 42 w 71"/>
                    <a:gd name="T93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51">
                      <a:moveTo>
                        <a:pt x="70" y="0"/>
                      </a:move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6" y="0"/>
                        <a:pt x="54" y="2"/>
                        <a:pt x="53" y="5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2" y="10"/>
                        <a:pt x="1" y="11"/>
                        <a:pt x="0" y="12"/>
                      </a:cubicBezTo>
                      <a:cubicBezTo>
                        <a:pt x="0" y="13"/>
                        <a:pt x="0" y="14"/>
                        <a:pt x="0" y="16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7" y="32"/>
                        <a:pt x="7" y="32"/>
                        <a:pt x="8" y="33"/>
                      </a:cubicBezTo>
                      <a:cubicBezTo>
                        <a:pt x="8" y="33"/>
                        <a:pt x="8" y="33"/>
                        <a:pt x="8" y="34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8" y="41"/>
                        <a:pt x="10" y="43"/>
                        <a:pt x="12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7" y="42"/>
                        <a:pt x="47" y="41"/>
                      </a:cubicBezTo>
                      <a:cubicBezTo>
                        <a:pt x="47" y="41"/>
                        <a:pt x="46" y="40"/>
                        <a:pt x="46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1" y="40"/>
                        <a:pt x="11" y="39"/>
                        <a:pt x="11" y="38"/>
                      </a:cubicBezTo>
                      <a:cubicBezTo>
                        <a:pt x="11" y="35"/>
                        <a:pt x="11" y="35"/>
                        <a:pt x="11" y="35"/>
                      </a:cubicBezTo>
                      <a:cubicBezTo>
                        <a:pt x="11" y="35"/>
                        <a:pt x="12" y="35"/>
                        <a:pt x="12" y="35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5" y="35"/>
                        <a:pt x="47" y="33"/>
                        <a:pt x="48" y="31"/>
                      </a:cubicBezTo>
                      <a:cubicBezTo>
                        <a:pt x="54" y="13"/>
                        <a:pt x="54" y="13"/>
                        <a:pt x="54" y="13"/>
                      </a:cubicBezTo>
                      <a:cubicBezTo>
                        <a:pt x="54" y="13"/>
                        <a:pt x="54" y="12"/>
                        <a:pt x="54" y="12"/>
                      </a:cubicBezTo>
                      <a:cubicBezTo>
                        <a:pt x="56" y="6"/>
                        <a:pt x="56" y="6"/>
                        <a:pt x="56" y="6"/>
                      </a:cubicBezTo>
                      <a:cubicBezTo>
                        <a:pt x="56" y="4"/>
                        <a:pt x="58" y="3"/>
                        <a:pt x="59" y="3"/>
                      </a:cubicBezTo>
                      <a:cubicBezTo>
                        <a:pt x="70" y="3"/>
                        <a:pt x="70" y="3"/>
                        <a:pt x="70" y="3"/>
                      </a:cubicBezTo>
                      <a:cubicBezTo>
                        <a:pt x="70" y="3"/>
                        <a:pt x="71" y="3"/>
                        <a:pt x="71" y="2"/>
                      </a:cubicBezTo>
                      <a:cubicBezTo>
                        <a:pt x="71" y="1"/>
                        <a:pt x="70" y="0"/>
                        <a:pt x="70" y="0"/>
                      </a:cubicBezTo>
                      <a:close/>
                      <a:moveTo>
                        <a:pt x="49" y="18"/>
                      </a:move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50" y="13"/>
                        <a:pt x="50" y="13"/>
                        <a:pt x="50" y="13"/>
                      </a:cubicBezTo>
                      <a:lnTo>
                        <a:pt x="49" y="18"/>
                      </a:lnTo>
                      <a:close/>
                      <a:moveTo>
                        <a:pt x="47" y="25"/>
                      </a:move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lnTo>
                        <a:pt x="47" y="25"/>
                      </a:lnTo>
                      <a:close/>
                      <a:moveTo>
                        <a:pt x="9" y="30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1" y="32"/>
                        <a:pt x="10" y="31"/>
                        <a:pt x="9" y="30"/>
                      </a:cubicBezTo>
                      <a:close/>
                      <a:moveTo>
                        <a:pt x="35" y="18"/>
                      </a:move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lnTo>
                        <a:pt x="35" y="18"/>
                      </a:lnTo>
                      <a:close/>
                      <a:moveTo>
                        <a:pt x="37" y="13"/>
                      </a:move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lnTo>
                        <a:pt x="37" y="13"/>
                      </a:lnTo>
                      <a:close/>
                      <a:moveTo>
                        <a:pt x="28" y="20"/>
                      </a:moveTo>
                      <a:cubicBezTo>
                        <a:pt x="35" y="20"/>
                        <a:pt x="35" y="20"/>
                        <a:pt x="35" y="20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lnTo>
                        <a:pt x="28" y="20"/>
                      </a:lnTo>
                      <a:close/>
                      <a:moveTo>
                        <a:pt x="26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6" y="20"/>
                        <a:pt x="26" y="20"/>
                        <a:pt x="26" y="20"/>
                      </a:cubicBezTo>
                      <a:lnTo>
                        <a:pt x="26" y="25"/>
                      </a:lnTo>
                      <a:close/>
                      <a:moveTo>
                        <a:pt x="26" y="18"/>
                      </a:move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7" y="13"/>
                        <a:pt x="27" y="13"/>
                        <a:pt x="27" y="13"/>
                      </a:cubicBezTo>
                      <a:lnTo>
                        <a:pt x="26" y="18"/>
                      </a:lnTo>
                      <a:close/>
                      <a:moveTo>
                        <a:pt x="18" y="18"/>
                      </a:move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lnTo>
                        <a:pt x="18" y="18"/>
                      </a:lnTo>
                      <a:close/>
                      <a:moveTo>
                        <a:pt x="18" y="20"/>
                      </a:move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lnTo>
                        <a:pt x="18" y="20"/>
                      </a:lnTo>
                      <a:close/>
                      <a:moveTo>
                        <a:pt x="11" y="25"/>
                      </a:moveTo>
                      <a:cubicBezTo>
                        <a:pt x="7" y="25"/>
                        <a:pt x="7" y="25"/>
                        <a:pt x="7" y="2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lnTo>
                        <a:pt x="11" y="25"/>
                      </a:lnTo>
                      <a:close/>
                      <a:moveTo>
                        <a:pt x="13" y="27"/>
                      </a:move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9" y="32"/>
                        <a:pt x="19" y="32"/>
                        <a:pt x="19" y="32"/>
                      </a:cubicBezTo>
                      <a:cubicBezTo>
                        <a:pt x="14" y="32"/>
                        <a:pt x="14" y="32"/>
                        <a:pt x="14" y="32"/>
                      </a:cubicBezTo>
                      <a:lnTo>
                        <a:pt x="13" y="27"/>
                      </a:lnTo>
                      <a:close/>
                      <a:moveTo>
                        <a:pt x="21" y="27"/>
                      </a:move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32"/>
                        <a:pt x="26" y="32"/>
                        <a:pt x="26" y="32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lnTo>
                        <a:pt x="21" y="27"/>
                      </a:lnTo>
                      <a:close/>
                      <a:moveTo>
                        <a:pt x="28" y="27"/>
                      </a:move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lnTo>
                        <a:pt x="28" y="27"/>
                      </a:lnTo>
                      <a:close/>
                      <a:moveTo>
                        <a:pt x="36" y="27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lnTo>
                        <a:pt x="36" y="27"/>
                      </a:lnTo>
                      <a:close/>
                      <a:moveTo>
                        <a:pt x="36" y="25"/>
                      </a:move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25"/>
                        <a:pt x="42" y="25"/>
                        <a:pt x="42" y="25"/>
                      </a:cubicBezTo>
                      <a:lnTo>
                        <a:pt x="36" y="25"/>
                      </a:lnTo>
                      <a:close/>
                      <a:moveTo>
                        <a:pt x="4" y="13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3"/>
                        <a:pt x="3" y="13"/>
                        <a:pt x="4" y="13"/>
                      </a:cubicBezTo>
                      <a:close/>
                      <a:moveTo>
                        <a:pt x="42" y="32"/>
                      </a:move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5" y="30"/>
                        <a:pt x="45" y="30"/>
                        <a:pt x="45" y="30"/>
                      </a:cubicBezTo>
                      <a:cubicBezTo>
                        <a:pt x="45" y="31"/>
                        <a:pt x="43" y="32"/>
                        <a:pt x="42" y="32"/>
                      </a:cubicBezTo>
                      <a:close/>
                      <a:moveTo>
                        <a:pt x="13" y="44"/>
                      </a:moveTo>
                      <a:cubicBezTo>
                        <a:pt x="11" y="44"/>
                        <a:pt x="10" y="46"/>
                        <a:pt x="10" y="48"/>
                      </a:cubicBezTo>
                      <a:cubicBezTo>
                        <a:pt x="10" y="50"/>
                        <a:pt x="11" y="51"/>
                        <a:pt x="13" y="51"/>
                      </a:cubicBezTo>
                      <a:cubicBezTo>
                        <a:pt x="15" y="51"/>
                        <a:pt x="17" y="50"/>
                        <a:pt x="17" y="48"/>
                      </a:cubicBezTo>
                      <a:cubicBezTo>
                        <a:pt x="17" y="46"/>
                        <a:pt x="15" y="44"/>
                        <a:pt x="13" y="44"/>
                      </a:cubicBezTo>
                      <a:close/>
                      <a:moveTo>
                        <a:pt x="13" y="49"/>
                      </a:moveTo>
                      <a:cubicBezTo>
                        <a:pt x="13" y="49"/>
                        <a:pt x="12" y="48"/>
                        <a:pt x="12" y="48"/>
                      </a:cubicBezTo>
                      <a:cubicBezTo>
                        <a:pt x="12" y="47"/>
                        <a:pt x="13" y="46"/>
                        <a:pt x="13" y="46"/>
                      </a:cubicBezTo>
                      <a:cubicBezTo>
                        <a:pt x="14" y="46"/>
                        <a:pt x="15" y="47"/>
                        <a:pt x="15" y="48"/>
                      </a:cubicBezTo>
                      <a:cubicBezTo>
                        <a:pt x="15" y="48"/>
                        <a:pt x="14" y="49"/>
                        <a:pt x="13" y="49"/>
                      </a:cubicBezTo>
                      <a:close/>
                      <a:moveTo>
                        <a:pt x="40" y="44"/>
                      </a:moveTo>
                      <a:cubicBezTo>
                        <a:pt x="38" y="44"/>
                        <a:pt x="37" y="46"/>
                        <a:pt x="37" y="48"/>
                      </a:cubicBezTo>
                      <a:cubicBezTo>
                        <a:pt x="37" y="50"/>
                        <a:pt x="38" y="51"/>
                        <a:pt x="40" y="51"/>
                      </a:cubicBezTo>
                      <a:cubicBezTo>
                        <a:pt x="42" y="51"/>
                        <a:pt x="44" y="50"/>
                        <a:pt x="44" y="48"/>
                      </a:cubicBezTo>
                      <a:cubicBezTo>
                        <a:pt x="44" y="46"/>
                        <a:pt x="42" y="44"/>
                        <a:pt x="40" y="44"/>
                      </a:cubicBezTo>
                      <a:close/>
                      <a:moveTo>
                        <a:pt x="40" y="49"/>
                      </a:moveTo>
                      <a:cubicBezTo>
                        <a:pt x="39" y="49"/>
                        <a:pt x="39" y="48"/>
                        <a:pt x="39" y="48"/>
                      </a:cubicBezTo>
                      <a:cubicBezTo>
                        <a:pt x="39" y="47"/>
                        <a:pt x="39" y="46"/>
                        <a:pt x="40" y="46"/>
                      </a:cubicBezTo>
                      <a:cubicBezTo>
                        <a:pt x="41" y="46"/>
                        <a:pt x="42" y="47"/>
                        <a:pt x="42" y="48"/>
                      </a:cubicBezTo>
                      <a:cubicBezTo>
                        <a:pt x="42" y="48"/>
                        <a:pt x="41" y="49"/>
                        <a:pt x="40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5" name="Freeform 24">
                  <a:extLst>
                    <a:ext uri="{FF2B5EF4-FFF2-40B4-BE49-F238E27FC236}">
                      <a16:creationId xmlns:a16="http://schemas.microsoft.com/office/drawing/2014/main" id="{165B0632-F8D3-4608-B9C9-A70BD5DB375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048915" y="1566049"/>
                  <a:ext cx="323243" cy="340955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6" name="Freeform 30">
                  <a:extLst>
                    <a:ext uri="{FF2B5EF4-FFF2-40B4-BE49-F238E27FC236}">
                      <a16:creationId xmlns:a16="http://schemas.microsoft.com/office/drawing/2014/main" id="{1170AD8B-6C7B-48F3-99F3-93545076D1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47268" y="5467123"/>
                  <a:ext cx="299883" cy="284634"/>
                </a:xfrm>
                <a:custGeom>
                  <a:avLst/>
                  <a:gdLst>
                    <a:gd name="T0" fmla="*/ 75 w 75"/>
                    <a:gd name="T1" fmla="*/ 27 h 71"/>
                    <a:gd name="T2" fmla="*/ 69 w 75"/>
                    <a:gd name="T3" fmla="*/ 14 h 71"/>
                    <a:gd name="T4" fmla="*/ 64 w 75"/>
                    <a:gd name="T5" fmla="*/ 0 h 71"/>
                    <a:gd name="T6" fmla="*/ 5 w 75"/>
                    <a:gd name="T7" fmla="*/ 11 h 71"/>
                    <a:gd name="T8" fmla="*/ 1 w 75"/>
                    <a:gd name="T9" fmla="*/ 26 h 71"/>
                    <a:gd name="T10" fmla="*/ 0 w 75"/>
                    <a:gd name="T11" fmla="*/ 31 h 71"/>
                    <a:gd name="T12" fmla="*/ 1 w 75"/>
                    <a:gd name="T13" fmla="*/ 65 h 71"/>
                    <a:gd name="T14" fmla="*/ 70 w 75"/>
                    <a:gd name="T15" fmla="*/ 71 h 71"/>
                    <a:gd name="T16" fmla="*/ 70 w 75"/>
                    <a:gd name="T17" fmla="*/ 61 h 71"/>
                    <a:gd name="T18" fmla="*/ 4 w 75"/>
                    <a:gd name="T19" fmla="*/ 26 h 71"/>
                    <a:gd name="T20" fmla="*/ 71 w 75"/>
                    <a:gd name="T21" fmla="*/ 26 h 71"/>
                    <a:gd name="T22" fmla="*/ 58 w 75"/>
                    <a:gd name="T23" fmla="*/ 33 h 71"/>
                    <a:gd name="T24" fmla="*/ 54 w 75"/>
                    <a:gd name="T25" fmla="*/ 28 h 71"/>
                    <a:gd name="T26" fmla="*/ 52 w 75"/>
                    <a:gd name="T27" fmla="*/ 31 h 71"/>
                    <a:gd name="T28" fmla="*/ 44 w 75"/>
                    <a:gd name="T29" fmla="*/ 31 h 71"/>
                    <a:gd name="T30" fmla="*/ 52 w 75"/>
                    <a:gd name="T31" fmla="*/ 31 h 71"/>
                    <a:gd name="T32" fmla="*/ 37 w 75"/>
                    <a:gd name="T33" fmla="*/ 33 h 71"/>
                    <a:gd name="T34" fmla="*/ 42 w 75"/>
                    <a:gd name="T35" fmla="*/ 28 h 71"/>
                    <a:gd name="T36" fmla="*/ 28 w 75"/>
                    <a:gd name="T37" fmla="*/ 33 h 71"/>
                    <a:gd name="T38" fmla="*/ 23 w 75"/>
                    <a:gd name="T39" fmla="*/ 28 h 71"/>
                    <a:gd name="T40" fmla="*/ 21 w 75"/>
                    <a:gd name="T41" fmla="*/ 28 h 71"/>
                    <a:gd name="T42" fmla="*/ 17 w 75"/>
                    <a:gd name="T43" fmla="*/ 33 h 71"/>
                    <a:gd name="T44" fmla="*/ 21 w 75"/>
                    <a:gd name="T45" fmla="*/ 28 h 71"/>
                    <a:gd name="T46" fmla="*/ 18 w 75"/>
                    <a:gd name="T47" fmla="*/ 35 h 71"/>
                    <a:gd name="T48" fmla="*/ 28 w 75"/>
                    <a:gd name="T49" fmla="*/ 35 h 71"/>
                    <a:gd name="T50" fmla="*/ 38 w 75"/>
                    <a:gd name="T51" fmla="*/ 35 h 71"/>
                    <a:gd name="T52" fmla="*/ 48 w 75"/>
                    <a:gd name="T53" fmla="*/ 35 h 71"/>
                    <a:gd name="T54" fmla="*/ 58 w 75"/>
                    <a:gd name="T55" fmla="*/ 35 h 71"/>
                    <a:gd name="T56" fmla="*/ 67 w 75"/>
                    <a:gd name="T57" fmla="*/ 62 h 71"/>
                    <a:gd name="T58" fmla="*/ 29 w 75"/>
                    <a:gd name="T59" fmla="*/ 40 h 71"/>
                    <a:gd name="T60" fmla="*/ 13 w 75"/>
                    <a:gd name="T61" fmla="*/ 62 h 71"/>
                    <a:gd name="T62" fmla="*/ 12 w 75"/>
                    <a:gd name="T63" fmla="*/ 33 h 71"/>
                    <a:gd name="T64" fmla="*/ 28 w 75"/>
                    <a:gd name="T65" fmla="*/ 42 h 71"/>
                    <a:gd name="T66" fmla="*/ 68 w 75"/>
                    <a:gd name="T67" fmla="*/ 33 h 71"/>
                    <a:gd name="T68" fmla="*/ 64 w 75"/>
                    <a:gd name="T69" fmla="*/ 28 h 71"/>
                    <a:gd name="T70" fmla="*/ 68 w 75"/>
                    <a:gd name="T71" fmla="*/ 33 h 71"/>
                    <a:gd name="T72" fmla="*/ 11 w 75"/>
                    <a:gd name="T73" fmla="*/ 14 h 71"/>
                    <a:gd name="T74" fmla="*/ 11 w 75"/>
                    <a:gd name="T75" fmla="*/ 3 h 71"/>
                    <a:gd name="T76" fmla="*/ 67 w 75"/>
                    <a:gd name="T77" fmla="*/ 11 h 71"/>
                    <a:gd name="T78" fmla="*/ 11 w 75"/>
                    <a:gd name="T79" fmla="*/ 31 h 71"/>
                    <a:gd name="T80" fmla="*/ 3 w 75"/>
                    <a:gd name="T81" fmla="*/ 31 h 71"/>
                    <a:gd name="T82" fmla="*/ 4 w 75"/>
                    <a:gd name="T83" fmla="*/ 65 h 71"/>
                    <a:gd name="T84" fmla="*/ 29 w 75"/>
                    <a:gd name="T85" fmla="*/ 64 h 71"/>
                    <a:gd name="T86" fmla="*/ 71 w 75"/>
                    <a:gd name="T87" fmla="*/ 67 h 71"/>
                    <a:gd name="T88" fmla="*/ 4 w 75"/>
                    <a:gd name="T89" fmla="*/ 67 h 71"/>
                    <a:gd name="T90" fmla="*/ 62 w 75"/>
                    <a:gd name="T91" fmla="*/ 56 h 71"/>
                    <a:gd name="T92" fmla="*/ 39 w 75"/>
                    <a:gd name="T93" fmla="*/ 40 h 71"/>
                    <a:gd name="T94" fmla="*/ 39 w 75"/>
                    <a:gd name="T95" fmla="*/ 57 h 71"/>
                    <a:gd name="T96" fmla="*/ 60 w 75"/>
                    <a:gd name="T97" fmla="*/ 5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5" h="71">
                      <a:moveTo>
                        <a:pt x="75" y="31"/>
                      </a:moveTo>
                      <a:cubicBezTo>
                        <a:pt x="75" y="28"/>
                        <a:pt x="75" y="28"/>
                        <a:pt x="75" y="28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27"/>
                        <a:pt x="75" y="26"/>
                        <a:pt x="75" y="26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4"/>
                        <a:pt x="69" y="14"/>
                        <a:pt x="69" y="14"/>
                      </a:cubicBezTo>
                      <a:cubicBezTo>
                        <a:pt x="70" y="13"/>
                        <a:pt x="70" y="12"/>
                        <a:pt x="70" y="11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2"/>
                        <a:pt x="67" y="0"/>
                        <a:pt x="64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8" y="0"/>
                        <a:pt x="5" y="2"/>
                        <a:pt x="5" y="5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3"/>
                        <a:pt x="6" y="14"/>
                      </a:cubicBezTo>
                      <a:cubicBezTo>
                        <a:pt x="6" y="14"/>
                        <a:pt x="6" y="14"/>
                        <a:pt x="5" y="1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7"/>
                        <a:pt x="0" y="27"/>
                      </a:cubicBezTo>
                      <a:cubicBezTo>
                        <a:pt x="0" y="27"/>
                        <a:pt x="0" y="27"/>
                        <a:pt x="0" y="28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3"/>
                        <a:pt x="2" y="36"/>
                        <a:pt x="5" y="36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3" y="61"/>
                        <a:pt x="1" y="63"/>
                        <a:pt x="1" y="65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69"/>
                        <a:pt x="3" y="71"/>
                        <a:pt x="6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2" y="71"/>
                        <a:pt x="74" y="69"/>
                        <a:pt x="74" y="67"/>
                      </a:cubicBezTo>
                      <a:cubicBezTo>
                        <a:pt x="74" y="65"/>
                        <a:pt x="74" y="65"/>
                        <a:pt x="74" y="65"/>
                      </a:cubicBezTo>
                      <a:cubicBezTo>
                        <a:pt x="74" y="63"/>
                        <a:pt x="72" y="61"/>
                        <a:pt x="70" y="61"/>
                      </a:cubicBez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73" y="36"/>
                        <a:pt x="75" y="33"/>
                        <a:pt x="75" y="31"/>
                      </a:cubicBezTo>
                      <a:close/>
                      <a:moveTo>
                        <a:pt x="4" y="2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1" y="26"/>
                        <a:pt x="71" y="26"/>
                        <a:pt x="71" y="26"/>
                      </a:cubicBezTo>
                      <a:lnTo>
                        <a:pt x="4" y="26"/>
                      </a:lnTo>
                      <a:close/>
                      <a:moveTo>
                        <a:pt x="62" y="31"/>
                      </a:moveTo>
                      <a:cubicBezTo>
                        <a:pt x="62" y="32"/>
                        <a:pt x="60" y="33"/>
                        <a:pt x="58" y="33"/>
                      </a:cubicBezTo>
                      <a:cubicBezTo>
                        <a:pt x="57" y="33"/>
                        <a:pt x="57" y="33"/>
                        <a:pt x="57" y="33"/>
                      </a:cubicBezTo>
                      <a:cubicBezTo>
                        <a:pt x="55" y="33"/>
                        <a:pt x="54" y="32"/>
                        <a:pt x="54" y="31"/>
                      </a:cubicBezTo>
                      <a:cubicBezTo>
                        <a:pt x="54" y="28"/>
                        <a:pt x="54" y="28"/>
                        <a:pt x="54" y="28"/>
                      </a:cubicBezTo>
                      <a:cubicBezTo>
                        <a:pt x="62" y="28"/>
                        <a:pt x="62" y="28"/>
                        <a:pt x="62" y="28"/>
                      </a:cubicBezTo>
                      <a:lnTo>
                        <a:pt x="62" y="31"/>
                      </a:lnTo>
                      <a:close/>
                      <a:moveTo>
                        <a:pt x="52" y="31"/>
                      </a:moveTo>
                      <a:cubicBezTo>
                        <a:pt x="52" y="32"/>
                        <a:pt x="50" y="33"/>
                        <a:pt x="48" y="33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5" y="33"/>
                        <a:pt x="44" y="32"/>
                        <a:pt x="44" y="31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lnTo>
                        <a:pt x="52" y="31"/>
                      </a:lnTo>
                      <a:close/>
                      <a:moveTo>
                        <a:pt x="42" y="31"/>
                      </a:moveTo>
                      <a:cubicBezTo>
                        <a:pt x="42" y="32"/>
                        <a:pt x="40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4" y="32"/>
                        <a:pt x="34" y="31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lnTo>
                        <a:pt x="42" y="31"/>
                      </a:lnTo>
                      <a:close/>
                      <a:moveTo>
                        <a:pt x="32" y="31"/>
                      </a:move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5" y="33"/>
                        <a:pt x="23" y="32"/>
                        <a:pt x="23" y="31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lnTo>
                        <a:pt x="32" y="31"/>
                      </a:lnTo>
                      <a:close/>
                      <a:moveTo>
                        <a:pt x="21" y="28"/>
                      </a:move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1" y="32"/>
                        <a:pt x="20" y="33"/>
                        <a:pt x="18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5" y="33"/>
                        <a:pt x="13" y="32"/>
                        <a:pt x="13" y="31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lnTo>
                        <a:pt x="21" y="28"/>
                      </a:lnTo>
                      <a:close/>
                      <a:moveTo>
                        <a:pt x="12" y="33"/>
                      </a:moveTo>
                      <a:cubicBezTo>
                        <a:pt x="13" y="35"/>
                        <a:pt x="15" y="35"/>
                        <a:pt x="17" y="35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20" y="35"/>
                        <a:pt x="21" y="35"/>
                        <a:pt x="22" y="33"/>
                      </a:cubicBezTo>
                      <a:cubicBezTo>
                        <a:pt x="23" y="35"/>
                        <a:pt x="25" y="35"/>
                        <a:pt x="27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2" y="35"/>
                        <a:pt x="33" y="33"/>
                      </a:cubicBezTo>
                      <a:cubicBezTo>
                        <a:pt x="34" y="35"/>
                        <a:pt x="35" y="35"/>
                        <a:pt x="37" y="35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40" y="35"/>
                        <a:pt x="42" y="35"/>
                        <a:pt x="43" y="33"/>
                      </a:cubicBezTo>
                      <a:cubicBezTo>
                        <a:pt x="44" y="35"/>
                        <a:pt x="45" y="35"/>
                        <a:pt x="47" y="35"/>
                      </a:cubicBezTo>
                      <a:cubicBezTo>
                        <a:pt x="48" y="35"/>
                        <a:pt x="48" y="35"/>
                        <a:pt x="48" y="35"/>
                      </a:cubicBezTo>
                      <a:cubicBezTo>
                        <a:pt x="50" y="35"/>
                        <a:pt x="52" y="35"/>
                        <a:pt x="53" y="33"/>
                      </a:cubicBezTo>
                      <a:cubicBezTo>
                        <a:pt x="54" y="35"/>
                        <a:pt x="55" y="35"/>
                        <a:pt x="57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35"/>
                        <a:pt x="62" y="35"/>
                        <a:pt x="63" y="33"/>
                      </a:cubicBezTo>
                      <a:cubicBezTo>
                        <a:pt x="64" y="35"/>
                        <a:pt x="65" y="35"/>
                        <a:pt x="67" y="35"/>
                      </a:cubicBezTo>
                      <a:cubicBezTo>
                        <a:pt x="67" y="62"/>
                        <a:pt x="67" y="62"/>
                        <a:pt x="67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0"/>
                        <a:pt x="30" y="40"/>
                        <a:pt x="29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3" y="40"/>
                        <a:pt x="13" y="40"/>
                        <a:pt x="13" y="41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5"/>
                        <a:pt x="11" y="35"/>
                        <a:pt x="12" y="33"/>
                      </a:cubicBezTo>
                      <a:close/>
                      <a:moveTo>
                        <a:pt x="15" y="62"/>
                      </a:moveTo>
                      <a:cubicBezTo>
                        <a:pt x="15" y="42"/>
                        <a:pt x="15" y="42"/>
                        <a:pt x="15" y="42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lnTo>
                        <a:pt x="15" y="62"/>
                      </a:lnTo>
                      <a:close/>
                      <a:moveTo>
                        <a:pt x="68" y="33"/>
                      </a:moveTo>
                      <a:cubicBezTo>
                        <a:pt x="67" y="33"/>
                        <a:pt x="67" y="33"/>
                        <a:pt x="67" y="33"/>
                      </a:cubicBezTo>
                      <a:cubicBezTo>
                        <a:pt x="65" y="33"/>
                        <a:pt x="64" y="32"/>
                        <a:pt x="64" y="31"/>
                      </a:cubicBezTo>
                      <a:cubicBezTo>
                        <a:pt x="64" y="28"/>
                        <a:pt x="64" y="28"/>
                        <a:pt x="64" y="28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72" y="32"/>
                        <a:pt x="70" y="33"/>
                        <a:pt x="68" y="33"/>
                      </a:cubicBezTo>
                      <a:close/>
                      <a:moveTo>
                        <a:pt x="67" y="11"/>
                      </a:moveTo>
                      <a:cubicBezTo>
                        <a:pt x="67" y="13"/>
                        <a:pt x="66" y="14"/>
                        <a:pt x="64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9" y="14"/>
                        <a:pt x="8" y="13"/>
                        <a:pt x="8" y="11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9" y="3"/>
                        <a:pt x="11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6" y="3"/>
                        <a:pt x="67" y="4"/>
                        <a:pt x="67" y="5"/>
                      </a:cubicBezTo>
                      <a:lnTo>
                        <a:pt x="67" y="11"/>
                      </a:lnTo>
                      <a:close/>
                      <a:moveTo>
                        <a:pt x="3" y="28"/>
                      </a:moveTo>
                      <a:cubicBezTo>
                        <a:pt x="11" y="28"/>
                        <a:pt x="11" y="28"/>
                        <a:pt x="11" y="28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1" y="32"/>
                        <a:pt x="10" y="33"/>
                        <a:pt x="8" y="33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3"/>
                        <a:pt x="3" y="32"/>
                        <a:pt x="3" y="31"/>
                      </a:cubicBezTo>
                      <a:lnTo>
                        <a:pt x="3" y="28"/>
                      </a:lnTo>
                      <a:close/>
                      <a:moveTo>
                        <a:pt x="4" y="67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5"/>
                        <a:pt x="5" y="64"/>
                        <a:pt x="6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70" y="64"/>
                        <a:pt x="70" y="64"/>
                        <a:pt x="70" y="64"/>
                      </a:cubicBezTo>
                      <a:cubicBezTo>
                        <a:pt x="70" y="64"/>
                        <a:pt x="71" y="65"/>
                        <a:pt x="71" y="65"/>
                      </a:cubicBezTo>
                      <a:cubicBezTo>
                        <a:pt x="71" y="67"/>
                        <a:pt x="71" y="67"/>
                        <a:pt x="71" y="67"/>
                      </a:cubicBezTo>
                      <a:cubicBezTo>
                        <a:pt x="71" y="68"/>
                        <a:pt x="70" y="68"/>
                        <a:pt x="70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5" y="68"/>
                        <a:pt x="4" y="68"/>
                        <a:pt x="4" y="67"/>
                      </a:cubicBezTo>
                      <a:close/>
                      <a:moveTo>
                        <a:pt x="39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62" y="57"/>
                        <a:pt x="62" y="56"/>
                        <a:pt x="62" y="56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ubicBezTo>
                        <a:pt x="62" y="40"/>
                        <a:pt x="62" y="40"/>
                        <a:pt x="61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8" y="40"/>
                        <a:pt x="38" y="40"/>
                        <a:pt x="38" y="41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38" y="56"/>
                        <a:pt x="38" y="57"/>
                        <a:pt x="39" y="57"/>
                      </a:cubicBezTo>
                      <a:close/>
                      <a:moveTo>
                        <a:pt x="40" y="42"/>
                      </a:moveTo>
                      <a:cubicBezTo>
                        <a:pt x="60" y="42"/>
                        <a:pt x="60" y="42"/>
                        <a:pt x="60" y="42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lnTo>
                        <a:pt x="40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7" name="Freeform 32">
                  <a:extLst>
                    <a:ext uri="{FF2B5EF4-FFF2-40B4-BE49-F238E27FC236}">
                      <a16:creationId xmlns:a16="http://schemas.microsoft.com/office/drawing/2014/main" id="{8AEBC463-B568-40E3-9554-29568E776F9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43052" y="5474730"/>
                  <a:ext cx="311167" cy="347437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8" name="Freeform 41">
                  <a:extLst>
                    <a:ext uri="{FF2B5EF4-FFF2-40B4-BE49-F238E27FC236}">
                      <a16:creationId xmlns:a16="http://schemas.microsoft.com/office/drawing/2014/main" id="{63EC30C3-0712-414C-BE62-DC217BB93F6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26374" y="3481429"/>
                  <a:ext cx="328520" cy="317570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9" name="Freeform 17">
                  <a:extLst>
                    <a:ext uri="{FF2B5EF4-FFF2-40B4-BE49-F238E27FC236}">
                      <a16:creationId xmlns:a16="http://schemas.microsoft.com/office/drawing/2014/main" id="{D77EA4DE-C3D0-49A7-9598-7EB80D2B8D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70782" y="4215532"/>
                  <a:ext cx="353973" cy="299836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0" name="Freeform 52">
                  <a:extLst>
                    <a:ext uri="{FF2B5EF4-FFF2-40B4-BE49-F238E27FC236}">
                      <a16:creationId xmlns:a16="http://schemas.microsoft.com/office/drawing/2014/main" id="{C2CB82EA-E006-4C9E-9F46-3129D54E2A2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414484" y="4462722"/>
                  <a:ext cx="427572" cy="402274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1" name="Freeform 36">
                  <a:extLst>
                    <a:ext uri="{FF2B5EF4-FFF2-40B4-BE49-F238E27FC236}">
                      <a16:creationId xmlns:a16="http://schemas.microsoft.com/office/drawing/2014/main" id="{3EE1C15D-BA2A-4FFF-9497-3D71F844906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626142" y="3331001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2" name="Freeform 24">
                  <a:extLst>
                    <a:ext uri="{FF2B5EF4-FFF2-40B4-BE49-F238E27FC236}">
                      <a16:creationId xmlns:a16="http://schemas.microsoft.com/office/drawing/2014/main" id="{98ECC636-5355-4326-B430-C4AFB64E79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55996" y="1632312"/>
                  <a:ext cx="288083" cy="303868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3" name="Freeform 54">
                  <a:extLst>
                    <a:ext uri="{FF2B5EF4-FFF2-40B4-BE49-F238E27FC236}">
                      <a16:creationId xmlns:a16="http://schemas.microsoft.com/office/drawing/2014/main" id="{477081D1-D80D-418F-8344-27AF2CE9F5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91165" y="5149532"/>
                  <a:ext cx="329105" cy="382276"/>
                </a:xfrm>
                <a:custGeom>
                  <a:avLst/>
                  <a:gdLst>
                    <a:gd name="T0" fmla="*/ 31 w 62"/>
                    <a:gd name="T1" fmla="*/ 49 h 70"/>
                    <a:gd name="T2" fmla="*/ 45 w 62"/>
                    <a:gd name="T3" fmla="*/ 35 h 70"/>
                    <a:gd name="T4" fmla="*/ 45 w 62"/>
                    <a:gd name="T5" fmla="*/ 8 h 70"/>
                    <a:gd name="T6" fmla="*/ 17 w 62"/>
                    <a:gd name="T7" fmla="*/ 8 h 70"/>
                    <a:gd name="T8" fmla="*/ 17 w 62"/>
                    <a:gd name="T9" fmla="*/ 35 h 70"/>
                    <a:gd name="T10" fmla="*/ 31 w 62"/>
                    <a:gd name="T11" fmla="*/ 49 h 70"/>
                    <a:gd name="T12" fmla="*/ 31 w 62"/>
                    <a:gd name="T13" fmla="*/ 8 h 70"/>
                    <a:gd name="T14" fmla="*/ 44 w 62"/>
                    <a:gd name="T15" fmla="*/ 21 h 70"/>
                    <a:gd name="T16" fmla="*/ 31 w 62"/>
                    <a:gd name="T17" fmla="*/ 34 h 70"/>
                    <a:gd name="T18" fmla="*/ 18 w 62"/>
                    <a:gd name="T19" fmla="*/ 21 h 70"/>
                    <a:gd name="T20" fmla="*/ 31 w 62"/>
                    <a:gd name="T21" fmla="*/ 8 h 70"/>
                    <a:gd name="T22" fmla="*/ 25 w 62"/>
                    <a:gd name="T23" fmla="*/ 50 h 70"/>
                    <a:gd name="T24" fmla="*/ 27 w 62"/>
                    <a:gd name="T25" fmla="*/ 48 h 70"/>
                    <a:gd name="T26" fmla="*/ 30 w 62"/>
                    <a:gd name="T27" fmla="*/ 50 h 70"/>
                    <a:gd name="T28" fmla="*/ 31 w 62"/>
                    <a:gd name="T29" fmla="*/ 51 h 70"/>
                    <a:gd name="T30" fmla="*/ 32 w 62"/>
                    <a:gd name="T31" fmla="*/ 50 h 70"/>
                    <a:gd name="T32" fmla="*/ 34 w 62"/>
                    <a:gd name="T33" fmla="*/ 48 h 70"/>
                    <a:gd name="T34" fmla="*/ 37 w 62"/>
                    <a:gd name="T35" fmla="*/ 50 h 70"/>
                    <a:gd name="T36" fmla="*/ 31 w 62"/>
                    <a:gd name="T37" fmla="*/ 53 h 70"/>
                    <a:gd name="T38" fmla="*/ 25 w 62"/>
                    <a:gd name="T39" fmla="*/ 50 h 70"/>
                    <a:gd name="T40" fmla="*/ 8 w 62"/>
                    <a:gd name="T41" fmla="*/ 53 h 70"/>
                    <a:gd name="T42" fmla="*/ 31 w 62"/>
                    <a:gd name="T43" fmla="*/ 62 h 70"/>
                    <a:gd name="T44" fmla="*/ 54 w 62"/>
                    <a:gd name="T45" fmla="*/ 53 h 70"/>
                    <a:gd name="T46" fmla="*/ 39 w 62"/>
                    <a:gd name="T47" fmla="*/ 44 h 70"/>
                    <a:gd name="T48" fmla="*/ 35 w 62"/>
                    <a:gd name="T49" fmla="*/ 47 h 70"/>
                    <a:gd name="T50" fmla="*/ 44 w 62"/>
                    <a:gd name="T51" fmla="*/ 51 h 70"/>
                    <a:gd name="T52" fmla="*/ 31 w 62"/>
                    <a:gd name="T53" fmla="*/ 54 h 70"/>
                    <a:gd name="T54" fmla="*/ 18 w 62"/>
                    <a:gd name="T55" fmla="*/ 51 h 70"/>
                    <a:gd name="T56" fmla="*/ 26 w 62"/>
                    <a:gd name="T57" fmla="*/ 47 h 70"/>
                    <a:gd name="T58" fmla="*/ 23 w 62"/>
                    <a:gd name="T59" fmla="*/ 44 h 70"/>
                    <a:gd name="T60" fmla="*/ 8 w 62"/>
                    <a:gd name="T61" fmla="*/ 53 h 70"/>
                    <a:gd name="T62" fmla="*/ 16 w 62"/>
                    <a:gd name="T63" fmla="*/ 51 h 70"/>
                    <a:gd name="T64" fmla="*/ 31 w 62"/>
                    <a:gd name="T65" fmla="*/ 56 h 70"/>
                    <a:gd name="T66" fmla="*/ 46 w 62"/>
                    <a:gd name="T67" fmla="*/ 51 h 70"/>
                    <a:gd name="T68" fmla="*/ 42 w 62"/>
                    <a:gd name="T69" fmla="*/ 47 h 70"/>
                    <a:gd name="T70" fmla="*/ 52 w 62"/>
                    <a:gd name="T71" fmla="*/ 53 h 70"/>
                    <a:gd name="T72" fmla="*/ 31 w 62"/>
                    <a:gd name="T73" fmla="*/ 60 h 70"/>
                    <a:gd name="T74" fmla="*/ 10 w 62"/>
                    <a:gd name="T75" fmla="*/ 53 h 70"/>
                    <a:gd name="T76" fmla="*/ 20 w 62"/>
                    <a:gd name="T77" fmla="*/ 47 h 70"/>
                    <a:gd name="T78" fmla="*/ 16 w 62"/>
                    <a:gd name="T79" fmla="*/ 51 h 70"/>
                    <a:gd name="T80" fmla="*/ 62 w 62"/>
                    <a:gd name="T81" fmla="*/ 55 h 70"/>
                    <a:gd name="T82" fmla="*/ 31 w 62"/>
                    <a:gd name="T83" fmla="*/ 70 h 70"/>
                    <a:gd name="T84" fmla="*/ 0 w 62"/>
                    <a:gd name="T85" fmla="*/ 55 h 70"/>
                    <a:gd name="T86" fmla="*/ 20 w 62"/>
                    <a:gd name="T87" fmla="*/ 41 h 70"/>
                    <a:gd name="T88" fmla="*/ 23 w 62"/>
                    <a:gd name="T89" fmla="*/ 44 h 70"/>
                    <a:gd name="T90" fmla="*/ 3 w 62"/>
                    <a:gd name="T91" fmla="*/ 55 h 70"/>
                    <a:gd name="T92" fmla="*/ 31 w 62"/>
                    <a:gd name="T93" fmla="*/ 67 h 70"/>
                    <a:gd name="T94" fmla="*/ 59 w 62"/>
                    <a:gd name="T95" fmla="*/ 55 h 70"/>
                    <a:gd name="T96" fmla="*/ 39 w 62"/>
                    <a:gd name="T97" fmla="*/ 44 h 70"/>
                    <a:gd name="T98" fmla="*/ 42 w 62"/>
                    <a:gd name="T99" fmla="*/ 41 h 70"/>
                    <a:gd name="T100" fmla="*/ 62 w 62"/>
                    <a:gd name="T101" fmla="*/ 55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2" h="70">
                      <a:moveTo>
                        <a:pt x="31" y="49"/>
                      </a:moveTo>
                      <a:cubicBezTo>
                        <a:pt x="45" y="35"/>
                        <a:pt x="45" y="35"/>
                        <a:pt x="45" y="35"/>
                      </a:cubicBezTo>
                      <a:cubicBezTo>
                        <a:pt x="52" y="27"/>
                        <a:pt x="52" y="15"/>
                        <a:pt x="45" y="8"/>
                      </a:cubicBezTo>
                      <a:cubicBezTo>
                        <a:pt x="37" y="0"/>
                        <a:pt x="25" y="0"/>
                        <a:pt x="17" y="8"/>
                      </a:cubicBezTo>
                      <a:cubicBezTo>
                        <a:pt x="10" y="15"/>
                        <a:pt x="10" y="27"/>
                        <a:pt x="17" y="35"/>
                      </a:cubicBezTo>
                      <a:lnTo>
                        <a:pt x="31" y="49"/>
                      </a:lnTo>
                      <a:close/>
                      <a:moveTo>
                        <a:pt x="31" y="8"/>
                      </a:moveTo>
                      <a:cubicBezTo>
                        <a:pt x="38" y="8"/>
                        <a:pt x="44" y="14"/>
                        <a:pt x="44" y="21"/>
                      </a:cubicBezTo>
                      <a:cubicBezTo>
                        <a:pt x="44" y="29"/>
                        <a:pt x="38" y="34"/>
                        <a:pt x="31" y="34"/>
                      </a:cubicBezTo>
                      <a:cubicBezTo>
                        <a:pt x="24" y="34"/>
                        <a:pt x="18" y="29"/>
                        <a:pt x="18" y="21"/>
                      </a:cubicBezTo>
                      <a:cubicBezTo>
                        <a:pt x="18" y="14"/>
                        <a:pt x="24" y="8"/>
                        <a:pt x="31" y="8"/>
                      </a:cubicBezTo>
                      <a:close/>
                      <a:moveTo>
                        <a:pt x="25" y="50"/>
                      </a:moveTo>
                      <a:cubicBezTo>
                        <a:pt x="25" y="49"/>
                        <a:pt x="26" y="49"/>
                        <a:pt x="27" y="48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0" y="51"/>
                        <a:pt x="30" y="51"/>
                        <a:pt x="31" y="51"/>
                      </a:cubicBezTo>
                      <a:cubicBezTo>
                        <a:pt x="31" y="51"/>
                        <a:pt x="32" y="51"/>
                        <a:pt x="32" y="50"/>
                      </a:cubicBezTo>
                      <a:cubicBezTo>
                        <a:pt x="34" y="48"/>
                        <a:pt x="34" y="48"/>
                        <a:pt x="34" y="48"/>
                      </a:cubicBezTo>
                      <a:cubicBezTo>
                        <a:pt x="36" y="49"/>
                        <a:pt x="37" y="49"/>
                        <a:pt x="37" y="50"/>
                      </a:cubicBezTo>
                      <a:cubicBezTo>
                        <a:pt x="37" y="52"/>
                        <a:pt x="34" y="53"/>
                        <a:pt x="31" y="53"/>
                      </a:cubicBezTo>
                      <a:cubicBezTo>
                        <a:pt x="28" y="53"/>
                        <a:pt x="25" y="52"/>
                        <a:pt x="25" y="50"/>
                      </a:cubicBezTo>
                      <a:close/>
                      <a:moveTo>
                        <a:pt x="8" y="53"/>
                      </a:moveTo>
                      <a:cubicBezTo>
                        <a:pt x="8" y="58"/>
                        <a:pt x="18" y="62"/>
                        <a:pt x="31" y="62"/>
                      </a:cubicBezTo>
                      <a:cubicBezTo>
                        <a:pt x="44" y="62"/>
                        <a:pt x="54" y="58"/>
                        <a:pt x="54" y="53"/>
                      </a:cubicBezTo>
                      <a:cubicBezTo>
                        <a:pt x="54" y="49"/>
                        <a:pt x="48" y="45"/>
                        <a:pt x="39" y="44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41" y="48"/>
                        <a:pt x="44" y="49"/>
                        <a:pt x="44" y="51"/>
                      </a:cubicBezTo>
                      <a:cubicBezTo>
                        <a:pt x="44" y="52"/>
                        <a:pt x="39" y="54"/>
                        <a:pt x="31" y="54"/>
                      </a:cubicBezTo>
                      <a:cubicBezTo>
                        <a:pt x="23" y="54"/>
                        <a:pt x="18" y="52"/>
                        <a:pt x="18" y="51"/>
                      </a:cubicBezTo>
                      <a:cubicBezTo>
                        <a:pt x="18" y="49"/>
                        <a:pt x="21" y="48"/>
                        <a:pt x="26" y="47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4" y="45"/>
                        <a:pt x="8" y="49"/>
                        <a:pt x="8" y="53"/>
                      </a:cubicBezTo>
                      <a:close/>
                      <a:moveTo>
                        <a:pt x="16" y="51"/>
                      </a:moveTo>
                      <a:cubicBezTo>
                        <a:pt x="16" y="54"/>
                        <a:pt x="23" y="56"/>
                        <a:pt x="31" y="56"/>
                      </a:cubicBezTo>
                      <a:cubicBezTo>
                        <a:pt x="39" y="56"/>
                        <a:pt x="46" y="54"/>
                        <a:pt x="46" y="51"/>
                      </a:cubicBezTo>
                      <a:cubicBezTo>
                        <a:pt x="46" y="49"/>
                        <a:pt x="44" y="47"/>
                        <a:pt x="42" y="47"/>
                      </a:cubicBezTo>
                      <a:cubicBezTo>
                        <a:pt x="48" y="48"/>
                        <a:pt x="52" y="50"/>
                        <a:pt x="52" y="53"/>
                      </a:cubicBezTo>
                      <a:cubicBezTo>
                        <a:pt x="52" y="56"/>
                        <a:pt x="43" y="60"/>
                        <a:pt x="31" y="60"/>
                      </a:cubicBezTo>
                      <a:cubicBezTo>
                        <a:pt x="19" y="60"/>
                        <a:pt x="10" y="56"/>
                        <a:pt x="10" y="53"/>
                      </a:cubicBezTo>
                      <a:cubicBezTo>
                        <a:pt x="10" y="50"/>
                        <a:pt x="14" y="48"/>
                        <a:pt x="20" y="47"/>
                      </a:cubicBezTo>
                      <a:cubicBezTo>
                        <a:pt x="17" y="47"/>
                        <a:pt x="16" y="49"/>
                        <a:pt x="16" y="51"/>
                      </a:cubicBezTo>
                      <a:close/>
                      <a:moveTo>
                        <a:pt x="62" y="55"/>
                      </a:moveTo>
                      <a:cubicBezTo>
                        <a:pt x="62" y="64"/>
                        <a:pt x="49" y="70"/>
                        <a:pt x="31" y="70"/>
                      </a:cubicBezTo>
                      <a:cubicBezTo>
                        <a:pt x="13" y="70"/>
                        <a:pt x="0" y="64"/>
                        <a:pt x="0" y="55"/>
                      </a:cubicBezTo>
                      <a:cubicBezTo>
                        <a:pt x="0" y="49"/>
                        <a:pt x="8" y="43"/>
                        <a:pt x="20" y="41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0" y="45"/>
                        <a:pt x="3" y="50"/>
                        <a:pt x="3" y="55"/>
                      </a:cubicBezTo>
                      <a:cubicBezTo>
                        <a:pt x="3" y="61"/>
                        <a:pt x="14" y="67"/>
                        <a:pt x="31" y="67"/>
                      </a:cubicBezTo>
                      <a:cubicBezTo>
                        <a:pt x="48" y="67"/>
                        <a:pt x="59" y="61"/>
                        <a:pt x="59" y="55"/>
                      </a:cubicBezTo>
                      <a:cubicBezTo>
                        <a:pt x="59" y="50"/>
                        <a:pt x="51" y="45"/>
                        <a:pt x="39" y="44"/>
                      </a:cubicBezTo>
                      <a:cubicBezTo>
                        <a:pt x="42" y="41"/>
                        <a:pt x="42" y="41"/>
                        <a:pt x="42" y="41"/>
                      </a:cubicBezTo>
                      <a:cubicBezTo>
                        <a:pt x="54" y="43"/>
                        <a:pt x="62" y="49"/>
                        <a:pt x="62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4" name="Freeform 55">
                  <a:extLst>
                    <a:ext uri="{FF2B5EF4-FFF2-40B4-BE49-F238E27FC236}">
                      <a16:creationId xmlns:a16="http://schemas.microsoft.com/office/drawing/2014/main" id="{78E25EED-10CE-441A-8C14-EE4C6352C4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806238" y="3947425"/>
                  <a:ext cx="340055" cy="372752"/>
                </a:xfrm>
                <a:custGeom>
                  <a:avLst/>
                  <a:gdLst>
                    <a:gd name="T0" fmla="*/ 31 w 63"/>
                    <a:gd name="T1" fmla="*/ 45 h 67"/>
                    <a:gd name="T2" fmla="*/ 42 w 63"/>
                    <a:gd name="T3" fmla="*/ 33 h 67"/>
                    <a:gd name="T4" fmla="*/ 52 w 63"/>
                    <a:gd name="T5" fmla="*/ 33 h 67"/>
                    <a:gd name="T6" fmla="*/ 52 w 63"/>
                    <a:gd name="T7" fmla="*/ 0 h 67"/>
                    <a:gd name="T8" fmla="*/ 11 w 63"/>
                    <a:gd name="T9" fmla="*/ 0 h 67"/>
                    <a:gd name="T10" fmla="*/ 11 w 63"/>
                    <a:gd name="T11" fmla="*/ 33 h 67"/>
                    <a:gd name="T12" fmla="*/ 21 w 63"/>
                    <a:gd name="T13" fmla="*/ 33 h 67"/>
                    <a:gd name="T14" fmla="*/ 31 w 63"/>
                    <a:gd name="T15" fmla="*/ 45 h 67"/>
                    <a:gd name="T16" fmla="*/ 15 w 63"/>
                    <a:gd name="T17" fmla="*/ 29 h 67"/>
                    <a:gd name="T18" fmla="*/ 15 w 63"/>
                    <a:gd name="T19" fmla="*/ 4 h 67"/>
                    <a:gd name="T20" fmla="*/ 48 w 63"/>
                    <a:gd name="T21" fmla="*/ 4 h 67"/>
                    <a:gd name="T22" fmla="*/ 48 w 63"/>
                    <a:gd name="T23" fmla="*/ 29 h 67"/>
                    <a:gd name="T24" fmla="*/ 45 w 63"/>
                    <a:gd name="T25" fmla="*/ 29 h 67"/>
                    <a:gd name="T26" fmla="*/ 17 w 63"/>
                    <a:gd name="T27" fmla="*/ 29 h 67"/>
                    <a:gd name="T28" fmla="*/ 15 w 63"/>
                    <a:gd name="T29" fmla="*/ 29 h 67"/>
                    <a:gd name="T30" fmla="*/ 25 w 63"/>
                    <a:gd name="T31" fmla="*/ 47 h 67"/>
                    <a:gd name="T32" fmla="*/ 29 w 63"/>
                    <a:gd name="T33" fmla="*/ 45 h 67"/>
                    <a:gd name="T34" fmla="*/ 30 w 63"/>
                    <a:gd name="T35" fmla="*/ 46 h 67"/>
                    <a:gd name="T36" fmla="*/ 31 w 63"/>
                    <a:gd name="T37" fmla="*/ 47 h 67"/>
                    <a:gd name="T38" fmla="*/ 33 w 63"/>
                    <a:gd name="T39" fmla="*/ 46 h 67"/>
                    <a:gd name="T40" fmla="*/ 34 w 63"/>
                    <a:gd name="T41" fmla="*/ 45 h 67"/>
                    <a:gd name="T42" fmla="*/ 37 w 63"/>
                    <a:gd name="T43" fmla="*/ 47 h 67"/>
                    <a:gd name="T44" fmla="*/ 31 w 63"/>
                    <a:gd name="T45" fmla="*/ 50 h 67"/>
                    <a:gd name="T46" fmla="*/ 25 w 63"/>
                    <a:gd name="T47" fmla="*/ 47 h 67"/>
                    <a:gd name="T48" fmla="*/ 8 w 63"/>
                    <a:gd name="T49" fmla="*/ 50 h 67"/>
                    <a:gd name="T50" fmla="*/ 31 w 63"/>
                    <a:gd name="T51" fmla="*/ 59 h 67"/>
                    <a:gd name="T52" fmla="*/ 54 w 63"/>
                    <a:gd name="T53" fmla="*/ 50 h 67"/>
                    <a:gd name="T54" fmla="*/ 37 w 63"/>
                    <a:gd name="T55" fmla="*/ 41 h 67"/>
                    <a:gd name="T56" fmla="*/ 34 w 63"/>
                    <a:gd name="T57" fmla="*/ 44 h 67"/>
                    <a:gd name="T58" fmla="*/ 44 w 63"/>
                    <a:gd name="T59" fmla="*/ 48 h 67"/>
                    <a:gd name="T60" fmla="*/ 31 w 63"/>
                    <a:gd name="T61" fmla="*/ 51 h 67"/>
                    <a:gd name="T62" fmla="*/ 18 w 63"/>
                    <a:gd name="T63" fmla="*/ 48 h 67"/>
                    <a:gd name="T64" fmla="*/ 28 w 63"/>
                    <a:gd name="T65" fmla="*/ 44 h 67"/>
                    <a:gd name="T66" fmla="*/ 25 w 63"/>
                    <a:gd name="T67" fmla="*/ 41 h 67"/>
                    <a:gd name="T68" fmla="*/ 8 w 63"/>
                    <a:gd name="T69" fmla="*/ 50 h 67"/>
                    <a:gd name="T70" fmla="*/ 16 w 63"/>
                    <a:gd name="T71" fmla="*/ 48 h 67"/>
                    <a:gd name="T72" fmla="*/ 31 w 63"/>
                    <a:gd name="T73" fmla="*/ 53 h 67"/>
                    <a:gd name="T74" fmla="*/ 46 w 63"/>
                    <a:gd name="T75" fmla="*/ 48 h 67"/>
                    <a:gd name="T76" fmla="*/ 42 w 63"/>
                    <a:gd name="T77" fmla="*/ 44 h 67"/>
                    <a:gd name="T78" fmla="*/ 52 w 63"/>
                    <a:gd name="T79" fmla="*/ 50 h 67"/>
                    <a:gd name="T80" fmla="*/ 31 w 63"/>
                    <a:gd name="T81" fmla="*/ 57 h 67"/>
                    <a:gd name="T82" fmla="*/ 10 w 63"/>
                    <a:gd name="T83" fmla="*/ 50 h 67"/>
                    <a:gd name="T84" fmla="*/ 20 w 63"/>
                    <a:gd name="T85" fmla="*/ 44 h 67"/>
                    <a:gd name="T86" fmla="*/ 16 w 63"/>
                    <a:gd name="T87" fmla="*/ 48 h 67"/>
                    <a:gd name="T88" fmla="*/ 63 w 63"/>
                    <a:gd name="T89" fmla="*/ 52 h 67"/>
                    <a:gd name="T90" fmla="*/ 31 w 63"/>
                    <a:gd name="T91" fmla="*/ 67 h 67"/>
                    <a:gd name="T92" fmla="*/ 0 w 63"/>
                    <a:gd name="T93" fmla="*/ 52 h 67"/>
                    <a:gd name="T94" fmla="*/ 22 w 63"/>
                    <a:gd name="T95" fmla="*/ 38 h 67"/>
                    <a:gd name="T96" fmla="*/ 25 w 63"/>
                    <a:gd name="T97" fmla="*/ 40 h 67"/>
                    <a:gd name="T98" fmla="*/ 3 w 63"/>
                    <a:gd name="T99" fmla="*/ 52 h 67"/>
                    <a:gd name="T100" fmla="*/ 31 w 63"/>
                    <a:gd name="T101" fmla="*/ 64 h 67"/>
                    <a:gd name="T102" fmla="*/ 60 w 63"/>
                    <a:gd name="T103" fmla="*/ 52 h 67"/>
                    <a:gd name="T104" fmla="*/ 38 w 63"/>
                    <a:gd name="T105" fmla="*/ 40 h 67"/>
                    <a:gd name="T106" fmla="*/ 40 w 63"/>
                    <a:gd name="T107" fmla="*/ 38 h 67"/>
                    <a:gd name="T108" fmla="*/ 63 w 63"/>
                    <a:gd name="T109" fmla="*/ 5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3" h="67">
                      <a:moveTo>
                        <a:pt x="31" y="45"/>
                      </a:moveTo>
                      <a:cubicBezTo>
                        <a:pt x="42" y="33"/>
                        <a:pt x="42" y="33"/>
                        <a:pt x="42" y="33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lnTo>
                        <a:pt x="31" y="45"/>
                      </a:lnTo>
                      <a:close/>
                      <a:moveTo>
                        <a:pt x="15" y="29"/>
                      </a:move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17" y="29"/>
                        <a:pt x="17" y="29"/>
                        <a:pt x="17" y="29"/>
                      </a:cubicBezTo>
                      <a:lnTo>
                        <a:pt x="15" y="29"/>
                      </a:lnTo>
                      <a:close/>
                      <a:moveTo>
                        <a:pt x="25" y="47"/>
                      </a:moveTo>
                      <a:cubicBezTo>
                        <a:pt x="25" y="46"/>
                        <a:pt x="27" y="45"/>
                        <a:pt x="29" y="45"/>
                      </a:cubicBez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46"/>
                        <a:pt x="31" y="47"/>
                        <a:pt x="31" y="47"/>
                      </a:cubicBezTo>
                      <a:cubicBezTo>
                        <a:pt x="32" y="47"/>
                        <a:pt x="32" y="46"/>
                        <a:pt x="33" y="46"/>
                      </a:cubicBezTo>
                      <a:cubicBezTo>
                        <a:pt x="34" y="45"/>
                        <a:pt x="34" y="45"/>
                        <a:pt x="34" y="45"/>
                      </a:cubicBezTo>
                      <a:cubicBezTo>
                        <a:pt x="36" y="45"/>
                        <a:pt x="37" y="46"/>
                        <a:pt x="37" y="47"/>
                      </a:cubicBezTo>
                      <a:cubicBezTo>
                        <a:pt x="37" y="49"/>
                        <a:pt x="34" y="50"/>
                        <a:pt x="31" y="50"/>
                      </a:cubicBezTo>
                      <a:cubicBezTo>
                        <a:pt x="28" y="50"/>
                        <a:pt x="25" y="49"/>
                        <a:pt x="25" y="47"/>
                      </a:cubicBezTo>
                      <a:close/>
                      <a:moveTo>
                        <a:pt x="8" y="50"/>
                      </a:moveTo>
                      <a:cubicBezTo>
                        <a:pt x="8" y="55"/>
                        <a:pt x="18" y="59"/>
                        <a:pt x="31" y="59"/>
                      </a:cubicBezTo>
                      <a:cubicBezTo>
                        <a:pt x="44" y="59"/>
                        <a:pt x="54" y="55"/>
                        <a:pt x="54" y="50"/>
                      </a:cubicBezTo>
                      <a:cubicBezTo>
                        <a:pt x="54" y="45"/>
                        <a:pt x="47" y="42"/>
                        <a:pt x="37" y="41"/>
                      </a:cubicBezTo>
                      <a:cubicBezTo>
                        <a:pt x="34" y="44"/>
                        <a:pt x="34" y="44"/>
                        <a:pt x="34" y="44"/>
                      </a:cubicBezTo>
                      <a:cubicBezTo>
                        <a:pt x="41" y="45"/>
                        <a:pt x="44" y="46"/>
                        <a:pt x="44" y="48"/>
                      </a:cubicBezTo>
                      <a:cubicBezTo>
                        <a:pt x="44" y="49"/>
                        <a:pt x="39" y="51"/>
                        <a:pt x="31" y="51"/>
                      </a:cubicBezTo>
                      <a:cubicBezTo>
                        <a:pt x="23" y="51"/>
                        <a:pt x="18" y="49"/>
                        <a:pt x="18" y="48"/>
                      </a:cubicBezTo>
                      <a:cubicBezTo>
                        <a:pt x="18" y="46"/>
                        <a:pt x="22" y="45"/>
                        <a:pt x="28" y="44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15" y="42"/>
                        <a:pt x="8" y="45"/>
                        <a:pt x="8" y="50"/>
                      </a:cubicBezTo>
                      <a:close/>
                      <a:moveTo>
                        <a:pt x="16" y="48"/>
                      </a:moveTo>
                      <a:cubicBezTo>
                        <a:pt x="16" y="51"/>
                        <a:pt x="24" y="53"/>
                        <a:pt x="31" y="53"/>
                      </a:cubicBezTo>
                      <a:cubicBezTo>
                        <a:pt x="39" y="53"/>
                        <a:pt x="46" y="51"/>
                        <a:pt x="46" y="48"/>
                      </a:cubicBezTo>
                      <a:cubicBezTo>
                        <a:pt x="46" y="46"/>
                        <a:pt x="45" y="44"/>
                        <a:pt x="42" y="44"/>
                      </a:cubicBezTo>
                      <a:cubicBezTo>
                        <a:pt x="48" y="45"/>
                        <a:pt x="52" y="47"/>
                        <a:pt x="52" y="50"/>
                      </a:cubicBezTo>
                      <a:cubicBezTo>
                        <a:pt x="52" y="53"/>
                        <a:pt x="44" y="57"/>
                        <a:pt x="31" y="57"/>
                      </a:cubicBezTo>
                      <a:cubicBezTo>
                        <a:pt x="19" y="57"/>
                        <a:pt x="10" y="53"/>
                        <a:pt x="10" y="50"/>
                      </a:cubicBezTo>
                      <a:cubicBezTo>
                        <a:pt x="10" y="47"/>
                        <a:pt x="14" y="45"/>
                        <a:pt x="20" y="44"/>
                      </a:cubicBezTo>
                      <a:cubicBezTo>
                        <a:pt x="18" y="44"/>
                        <a:pt x="16" y="46"/>
                        <a:pt x="16" y="48"/>
                      </a:cubicBezTo>
                      <a:close/>
                      <a:moveTo>
                        <a:pt x="63" y="52"/>
                      </a:moveTo>
                      <a:cubicBezTo>
                        <a:pt x="63" y="61"/>
                        <a:pt x="49" y="67"/>
                        <a:pt x="31" y="67"/>
                      </a:cubicBezTo>
                      <a:cubicBezTo>
                        <a:pt x="14" y="67"/>
                        <a:pt x="0" y="61"/>
                        <a:pt x="0" y="52"/>
                      </a:cubicBezTo>
                      <a:cubicBezTo>
                        <a:pt x="0" y="45"/>
                        <a:pt x="9" y="40"/>
                        <a:pt x="22" y="38"/>
                      </a:cubicBezTo>
                      <a:cubicBezTo>
                        <a:pt x="25" y="40"/>
                        <a:pt x="25" y="40"/>
                        <a:pt x="25" y="40"/>
                      </a:cubicBezTo>
                      <a:cubicBezTo>
                        <a:pt x="11" y="42"/>
                        <a:pt x="3" y="47"/>
                        <a:pt x="3" y="52"/>
                      </a:cubicBezTo>
                      <a:cubicBezTo>
                        <a:pt x="3" y="58"/>
                        <a:pt x="14" y="64"/>
                        <a:pt x="31" y="64"/>
                      </a:cubicBezTo>
                      <a:cubicBezTo>
                        <a:pt x="48" y="64"/>
                        <a:pt x="60" y="58"/>
                        <a:pt x="60" y="52"/>
                      </a:cubicBezTo>
                      <a:cubicBezTo>
                        <a:pt x="60" y="47"/>
                        <a:pt x="51" y="42"/>
                        <a:pt x="38" y="40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53" y="40"/>
                        <a:pt x="63" y="45"/>
                        <a:pt x="63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5" name="Freeform 55">
                  <a:extLst>
                    <a:ext uri="{FF2B5EF4-FFF2-40B4-BE49-F238E27FC236}">
                      <a16:creationId xmlns:a16="http://schemas.microsoft.com/office/drawing/2014/main" id="{C041961C-217B-4E54-936E-912C916E45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12898" y="1953683"/>
                  <a:ext cx="268115" cy="293895"/>
                </a:xfrm>
                <a:custGeom>
                  <a:avLst/>
                  <a:gdLst>
                    <a:gd name="T0" fmla="*/ 31 w 63"/>
                    <a:gd name="T1" fmla="*/ 45 h 67"/>
                    <a:gd name="T2" fmla="*/ 42 w 63"/>
                    <a:gd name="T3" fmla="*/ 33 h 67"/>
                    <a:gd name="T4" fmla="*/ 52 w 63"/>
                    <a:gd name="T5" fmla="*/ 33 h 67"/>
                    <a:gd name="T6" fmla="*/ 52 w 63"/>
                    <a:gd name="T7" fmla="*/ 0 h 67"/>
                    <a:gd name="T8" fmla="*/ 11 w 63"/>
                    <a:gd name="T9" fmla="*/ 0 h 67"/>
                    <a:gd name="T10" fmla="*/ 11 w 63"/>
                    <a:gd name="T11" fmla="*/ 33 h 67"/>
                    <a:gd name="T12" fmla="*/ 21 w 63"/>
                    <a:gd name="T13" fmla="*/ 33 h 67"/>
                    <a:gd name="T14" fmla="*/ 31 w 63"/>
                    <a:gd name="T15" fmla="*/ 45 h 67"/>
                    <a:gd name="T16" fmla="*/ 15 w 63"/>
                    <a:gd name="T17" fmla="*/ 29 h 67"/>
                    <a:gd name="T18" fmla="*/ 15 w 63"/>
                    <a:gd name="T19" fmla="*/ 4 h 67"/>
                    <a:gd name="T20" fmla="*/ 48 w 63"/>
                    <a:gd name="T21" fmla="*/ 4 h 67"/>
                    <a:gd name="T22" fmla="*/ 48 w 63"/>
                    <a:gd name="T23" fmla="*/ 29 h 67"/>
                    <a:gd name="T24" fmla="*/ 45 w 63"/>
                    <a:gd name="T25" fmla="*/ 29 h 67"/>
                    <a:gd name="T26" fmla="*/ 17 w 63"/>
                    <a:gd name="T27" fmla="*/ 29 h 67"/>
                    <a:gd name="T28" fmla="*/ 15 w 63"/>
                    <a:gd name="T29" fmla="*/ 29 h 67"/>
                    <a:gd name="T30" fmla="*/ 25 w 63"/>
                    <a:gd name="T31" fmla="*/ 47 h 67"/>
                    <a:gd name="T32" fmla="*/ 29 w 63"/>
                    <a:gd name="T33" fmla="*/ 45 h 67"/>
                    <a:gd name="T34" fmla="*/ 30 w 63"/>
                    <a:gd name="T35" fmla="*/ 46 h 67"/>
                    <a:gd name="T36" fmla="*/ 31 w 63"/>
                    <a:gd name="T37" fmla="*/ 47 h 67"/>
                    <a:gd name="T38" fmla="*/ 33 w 63"/>
                    <a:gd name="T39" fmla="*/ 46 h 67"/>
                    <a:gd name="T40" fmla="*/ 34 w 63"/>
                    <a:gd name="T41" fmla="*/ 45 h 67"/>
                    <a:gd name="T42" fmla="*/ 37 w 63"/>
                    <a:gd name="T43" fmla="*/ 47 h 67"/>
                    <a:gd name="T44" fmla="*/ 31 w 63"/>
                    <a:gd name="T45" fmla="*/ 50 h 67"/>
                    <a:gd name="T46" fmla="*/ 25 w 63"/>
                    <a:gd name="T47" fmla="*/ 47 h 67"/>
                    <a:gd name="T48" fmla="*/ 8 w 63"/>
                    <a:gd name="T49" fmla="*/ 50 h 67"/>
                    <a:gd name="T50" fmla="*/ 31 w 63"/>
                    <a:gd name="T51" fmla="*/ 59 h 67"/>
                    <a:gd name="T52" fmla="*/ 54 w 63"/>
                    <a:gd name="T53" fmla="*/ 50 h 67"/>
                    <a:gd name="T54" fmla="*/ 37 w 63"/>
                    <a:gd name="T55" fmla="*/ 41 h 67"/>
                    <a:gd name="T56" fmla="*/ 34 w 63"/>
                    <a:gd name="T57" fmla="*/ 44 h 67"/>
                    <a:gd name="T58" fmla="*/ 44 w 63"/>
                    <a:gd name="T59" fmla="*/ 48 h 67"/>
                    <a:gd name="T60" fmla="*/ 31 w 63"/>
                    <a:gd name="T61" fmla="*/ 51 h 67"/>
                    <a:gd name="T62" fmla="*/ 18 w 63"/>
                    <a:gd name="T63" fmla="*/ 48 h 67"/>
                    <a:gd name="T64" fmla="*/ 28 w 63"/>
                    <a:gd name="T65" fmla="*/ 44 h 67"/>
                    <a:gd name="T66" fmla="*/ 25 w 63"/>
                    <a:gd name="T67" fmla="*/ 41 h 67"/>
                    <a:gd name="T68" fmla="*/ 8 w 63"/>
                    <a:gd name="T69" fmla="*/ 50 h 67"/>
                    <a:gd name="T70" fmla="*/ 16 w 63"/>
                    <a:gd name="T71" fmla="*/ 48 h 67"/>
                    <a:gd name="T72" fmla="*/ 31 w 63"/>
                    <a:gd name="T73" fmla="*/ 53 h 67"/>
                    <a:gd name="T74" fmla="*/ 46 w 63"/>
                    <a:gd name="T75" fmla="*/ 48 h 67"/>
                    <a:gd name="T76" fmla="*/ 42 w 63"/>
                    <a:gd name="T77" fmla="*/ 44 h 67"/>
                    <a:gd name="T78" fmla="*/ 52 w 63"/>
                    <a:gd name="T79" fmla="*/ 50 h 67"/>
                    <a:gd name="T80" fmla="*/ 31 w 63"/>
                    <a:gd name="T81" fmla="*/ 57 h 67"/>
                    <a:gd name="T82" fmla="*/ 10 w 63"/>
                    <a:gd name="T83" fmla="*/ 50 h 67"/>
                    <a:gd name="T84" fmla="*/ 20 w 63"/>
                    <a:gd name="T85" fmla="*/ 44 h 67"/>
                    <a:gd name="T86" fmla="*/ 16 w 63"/>
                    <a:gd name="T87" fmla="*/ 48 h 67"/>
                    <a:gd name="T88" fmla="*/ 63 w 63"/>
                    <a:gd name="T89" fmla="*/ 52 h 67"/>
                    <a:gd name="T90" fmla="*/ 31 w 63"/>
                    <a:gd name="T91" fmla="*/ 67 h 67"/>
                    <a:gd name="T92" fmla="*/ 0 w 63"/>
                    <a:gd name="T93" fmla="*/ 52 h 67"/>
                    <a:gd name="T94" fmla="*/ 22 w 63"/>
                    <a:gd name="T95" fmla="*/ 38 h 67"/>
                    <a:gd name="T96" fmla="*/ 25 w 63"/>
                    <a:gd name="T97" fmla="*/ 40 h 67"/>
                    <a:gd name="T98" fmla="*/ 3 w 63"/>
                    <a:gd name="T99" fmla="*/ 52 h 67"/>
                    <a:gd name="T100" fmla="*/ 31 w 63"/>
                    <a:gd name="T101" fmla="*/ 64 h 67"/>
                    <a:gd name="T102" fmla="*/ 60 w 63"/>
                    <a:gd name="T103" fmla="*/ 52 h 67"/>
                    <a:gd name="T104" fmla="*/ 38 w 63"/>
                    <a:gd name="T105" fmla="*/ 40 h 67"/>
                    <a:gd name="T106" fmla="*/ 40 w 63"/>
                    <a:gd name="T107" fmla="*/ 38 h 67"/>
                    <a:gd name="T108" fmla="*/ 63 w 63"/>
                    <a:gd name="T109" fmla="*/ 5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3" h="67">
                      <a:moveTo>
                        <a:pt x="31" y="45"/>
                      </a:moveTo>
                      <a:cubicBezTo>
                        <a:pt x="42" y="33"/>
                        <a:pt x="42" y="33"/>
                        <a:pt x="42" y="33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lnTo>
                        <a:pt x="31" y="45"/>
                      </a:lnTo>
                      <a:close/>
                      <a:moveTo>
                        <a:pt x="15" y="29"/>
                      </a:move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17" y="29"/>
                        <a:pt x="17" y="29"/>
                        <a:pt x="17" y="29"/>
                      </a:cubicBezTo>
                      <a:lnTo>
                        <a:pt x="15" y="29"/>
                      </a:lnTo>
                      <a:close/>
                      <a:moveTo>
                        <a:pt x="25" y="47"/>
                      </a:moveTo>
                      <a:cubicBezTo>
                        <a:pt x="25" y="46"/>
                        <a:pt x="27" y="45"/>
                        <a:pt x="29" y="45"/>
                      </a:cubicBez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46"/>
                        <a:pt x="31" y="47"/>
                        <a:pt x="31" y="47"/>
                      </a:cubicBezTo>
                      <a:cubicBezTo>
                        <a:pt x="32" y="47"/>
                        <a:pt x="32" y="46"/>
                        <a:pt x="33" y="46"/>
                      </a:cubicBezTo>
                      <a:cubicBezTo>
                        <a:pt x="34" y="45"/>
                        <a:pt x="34" y="45"/>
                        <a:pt x="34" y="45"/>
                      </a:cubicBezTo>
                      <a:cubicBezTo>
                        <a:pt x="36" y="45"/>
                        <a:pt x="37" y="46"/>
                        <a:pt x="37" y="47"/>
                      </a:cubicBezTo>
                      <a:cubicBezTo>
                        <a:pt x="37" y="49"/>
                        <a:pt x="34" y="50"/>
                        <a:pt x="31" y="50"/>
                      </a:cubicBezTo>
                      <a:cubicBezTo>
                        <a:pt x="28" y="50"/>
                        <a:pt x="25" y="49"/>
                        <a:pt x="25" y="47"/>
                      </a:cubicBezTo>
                      <a:close/>
                      <a:moveTo>
                        <a:pt x="8" y="50"/>
                      </a:moveTo>
                      <a:cubicBezTo>
                        <a:pt x="8" y="55"/>
                        <a:pt x="18" y="59"/>
                        <a:pt x="31" y="59"/>
                      </a:cubicBezTo>
                      <a:cubicBezTo>
                        <a:pt x="44" y="59"/>
                        <a:pt x="54" y="55"/>
                        <a:pt x="54" y="50"/>
                      </a:cubicBezTo>
                      <a:cubicBezTo>
                        <a:pt x="54" y="45"/>
                        <a:pt x="47" y="42"/>
                        <a:pt x="37" y="41"/>
                      </a:cubicBezTo>
                      <a:cubicBezTo>
                        <a:pt x="34" y="44"/>
                        <a:pt x="34" y="44"/>
                        <a:pt x="34" y="44"/>
                      </a:cubicBezTo>
                      <a:cubicBezTo>
                        <a:pt x="41" y="45"/>
                        <a:pt x="44" y="46"/>
                        <a:pt x="44" y="48"/>
                      </a:cubicBezTo>
                      <a:cubicBezTo>
                        <a:pt x="44" y="49"/>
                        <a:pt x="39" y="51"/>
                        <a:pt x="31" y="51"/>
                      </a:cubicBezTo>
                      <a:cubicBezTo>
                        <a:pt x="23" y="51"/>
                        <a:pt x="18" y="49"/>
                        <a:pt x="18" y="48"/>
                      </a:cubicBezTo>
                      <a:cubicBezTo>
                        <a:pt x="18" y="46"/>
                        <a:pt x="22" y="45"/>
                        <a:pt x="28" y="44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15" y="42"/>
                        <a:pt x="8" y="45"/>
                        <a:pt x="8" y="50"/>
                      </a:cubicBezTo>
                      <a:close/>
                      <a:moveTo>
                        <a:pt x="16" y="48"/>
                      </a:moveTo>
                      <a:cubicBezTo>
                        <a:pt x="16" y="51"/>
                        <a:pt x="24" y="53"/>
                        <a:pt x="31" y="53"/>
                      </a:cubicBezTo>
                      <a:cubicBezTo>
                        <a:pt x="39" y="53"/>
                        <a:pt x="46" y="51"/>
                        <a:pt x="46" y="48"/>
                      </a:cubicBezTo>
                      <a:cubicBezTo>
                        <a:pt x="46" y="46"/>
                        <a:pt x="45" y="44"/>
                        <a:pt x="42" y="44"/>
                      </a:cubicBezTo>
                      <a:cubicBezTo>
                        <a:pt x="48" y="45"/>
                        <a:pt x="52" y="47"/>
                        <a:pt x="52" y="50"/>
                      </a:cubicBezTo>
                      <a:cubicBezTo>
                        <a:pt x="52" y="53"/>
                        <a:pt x="44" y="57"/>
                        <a:pt x="31" y="57"/>
                      </a:cubicBezTo>
                      <a:cubicBezTo>
                        <a:pt x="19" y="57"/>
                        <a:pt x="10" y="53"/>
                        <a:pt x="10" y="50"/>
                      </a:cubicBezTo>
                      <a:cubicBezTo>
                        <a:pt x="10" y="47"/>
                        <a:pt x="14" y="45"/>
                        <a:pt x="20" y="44"/>
                      </a:cubicBezTo>
                      <a:cubicBezTo>
                        <a:pt x="18" y="44"/>
                        <a:pt x="16" y="46"/>
                        <a:pt x="16" y="48"/>
                      </a:cubicBezTo>
                      <a:close/>
                      <a:moveTo>
                        <a:pt x="63" y="52"/>
                      </a:moveTo>
                      <a:cubicBezTo>
                        <a:pt x="63" y="61"/>
                        <a:pt x="49" y="67"/>
                        <a:pt x="31" y="67"/>
                      </a:cubicBezTo>
                      <a:cubicBezTo>
                        <a:pt x="14" y="67"/>
                        <a:pt x="0" y="61"/>
                        <a:pt x="0" y="52"/>
                      </a:cubicBezTo>
                      <a:cubicBezTo>
                        <a:pt x="0" y="45"/>
                        <a:pt x="9" y="40"/>
                        <a:pt x="22" y="38"/>
                      </a:cubicBezTo>
                      <a:cubicBezTo>
                        <a:pt x="25" y="40"/>
                        <a:pt x="25" y="40"/>
                        <a:pt x="25" y="40"/>
                      </a:cubicBezTo>
                      <a:cubicBezTo>
                        <a:pt x="11" y="42"/>
                        <a:pt x="3" y="47"/>
                        <a:pt x="3" y="52"/>
                      </a:cubicBezTo>
                      <a:cubicBezTo>
                        <a:pt x="3" y="58"/>
                        <a:pt x="14" y="64"/>
                        <a:pt x="31" y="64"/>
                      </a:cubicBezTo>
                      <a:cubicBezTo>
                        <a:pt x="48" y="64"/>
                        <a:pt x="60" y="58"/>
                        <a:pt x="60" y="52"/>
                      </a:cubicBezTo>
                      <a:cubicBezTo>
                        <a:pt x="60" y="47"/>
                        <a:pt x="51" y="42"/>
                        <a:pt x="38" y="40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53" y="40"/>
                        <a:pt x="63" y="45"/>
                        <a:pt x="63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6" name="Freeform 69">
                  <a:extLst>
                    <a:ext uri="{FF2B5EF4-FFF2-40B4-BE49-F238E27FC236}">
                      <a16:creationId xmlns:a16="http://schemas.microsoft.com/office/drawing/2014/main" id="{A41B8137-3548-48AD-9762-3AD32916022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56760" y="1839359"/>
                  <a:ext cx="255906" cy="255905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7" name="Freeform 54">
                  <a:extLst>
                    <a:ext uri="{FF2B5EF4-FFF2-40B4-BE49-F238E27FC236}">
                      <a16:creationId xmlns:a16="http://schemas.microsoft.com/office/drawing/2014/main" id="{E44B8D9F-6A2A-41D0-8976-A5C8664AA37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248011" y="3738365"/>
                  <a:ext cx="258419" cy="300168"/>
                </a:xfrm>
                <a:custGeom>
                  <a:avLst/>
                  <a:gdLst>
                    <a:gd name="T0" fmla="*/ 31 w 62"/>
                    <a:gd name="T1" fmla="*/ 49 h 70"/>
                    <a:gd name="T2" fmla="*/ 45 w 62"/>
                    <a:gd name="T3" fmla="*/ 35 h 70"/>
                    <a:gd name="T4" fmla="*/ 45 w 62"/>
                    <a:gd name="T5" fmla="*/ 8 h 70"/>
                    <a:gd name="T6" fmla="*/ 17 w 62"/>
                    <a:gd name="T7" fmla="*/ 8 h 70"/>
                    <a:gd name="T8" fmla="*/ 17 w 62"/>
                    <a:gd name="T9" fmla="*/ 35 h 70"/>
                    <a:gd name="T10" fmla="*/ 31 w 62"/>
                    <a:gd name="T11" fmla="*/ 49 h 70"/>
                    <a:gd name="T12" fmla="*/ 31 w 62"/>
                    <a:gd name="T13" fmla="*/ 8 h 70"/>
                    <a:gd name="T14" fmla="*/ 44 w 62"/>
                    <a:gd name="T15" fmla="*/ 21 h 70"/>
                    <a:gd name="T16" fmla="*/ 31 w 62"/>
                    <a:gd name="T17" fmla="*/ 34 h 70"/>
                    <a:gd name="T18" fmla="*/ 18 w 62"/>
                    <a:gd name="T19" fmla="*/ 21 h 70"/>
                    <a:gd name="T20" fmla="*/ 31 w 62"/>
                    <a:gd name="T21" fmla="*/ 8 h 70"/>
                    <a:gd name="T22" fmla="*/ 25 w 62"/>
                    <a:gd name="T23" fmla="*/ 50 h 70"/>
                    <a:gd name="T24" fmla="*/ 27 w 62"/>
                    <a:gd name="T25" fmla="*/ 48 h 70"/>
                    <a:gd name="T26" fmla="*/ 30 w 62"/>
                    <a:gd name="T27" fmla="*/ 50 h 70"/>
                    <a:gd name="T28" fmla="*/ 31 w 62"/>
                    <a:gd name="T29" fmla="*/ 51 h 70"/>
                    <a:gd name="T30" fmla="*/ 32 w 62"/>
                    <a:gd name="T31" fmla="*/ 50 h 70"/>
                    <a:gd name="T32" fmla="*/ 34 w 62"/>
                    <a:gd name="T33" fmla="*/ 48 h 70"/>
                    <a:gd name="T34" fmla="*/ 37 w 62"/>
                    <a:gd name="T35" fmla="*/ 50 h 70"/>
                    <a:gd name="T36" fmla="*/ 31 w 62"/>
                    <a:gd name="T37" fmla="*/ 53 h 70"/>
                    <a:gd name="T38" fmla="*/ 25 w 62"/>
                    <a:gd name="T39" fmla="*/ 50 h 70"/>
                    <a:gd name="T40" fmla="*/ 8 w 62"/>
                    <a:gd name="T41" fmla="*/ 53 h 70"/>
                    <a:gd name="T42" fmla="*/ 31 w 62"/>
                    <a:gd name="T43" fmla="*/ 62 h 70"/>
                    <a:gd name="T44" fmla="*/ 54 w 62"/>
                    <a:gd name="T45" fmla="*/ 53 h 70"/>
                    <a:gd name="T46" fmla="*/ 39 w 62"/>
                    <a:gd name="T47" fmla="*/ 44 h 70"/>
                    <a:gd name="T48" fmla="*/ 35 w 62"/>
                    <a:gd name="T49" fmla="*/ 47 h 70"/>
                    <a:gd name="T50" fmla="*/ 44 w 62"/>
                    <a:gd name="T51" fmla="*/ 51 h 70"/>
                    <a:gd name="T52" fmla="*/ 31 w 62"/>
                    <a:gd name="T53" fmla="*/ 54 h 70"/>
                    <a:gd name="T54" fmla="*/ 18 w 62"/>
                    <a:gd name="T55" fmla="*/ 51 h 70"/>
                    <a:gd name="T56" fmla="*/ 26 w 62"/>
                    <a:gd name="T57" fmla="*/ 47 h 70"/>
                    <a:gd name="T58" fmla="*/ 23 w 62"/>
                    <a:gd name="T59" fmla="*/ 44 h 70"/>
                    <a:gd name="T60" fmla="*/ 8 w 62"/>
                    <a:gd name="T61" fmla="*/ 53 h 70"/>
                    <a:gd name="T62" fmla="*/ 16 w 62"/>
                    <a:gd name="T63" fmla="*/ 51 h 70"/>
                    <a:gd name="T64" fmla="*/ 31 w 62"/>
                    <a:gd name="T65" fmla="*/ 56 h 70"/>
                    <a:gd name="T66" fmla="*/ 46 w 62"/>
                    <a:gd name="T67" fmla="*/ 51 h 70"/>
                    <a:gd name="T68" fmla="*/ 42 w 62"/>
                    <a:gd name="T69" fmla="*/ 47 h 70"/>
                    <a:gd name="T70" fmla="*/ 52 w 62"/>
                    <a:gd name="T71" fmla="*/ 53 h 70"/>
                    <a:gd name="T72" fmla="*/ 31 w 62"/>
                    <a:gd name="T73" fmla="*/ 60 h 70"/>
                    <a:gd name="T74" fmla="*/ 10 w 62"/>
                    <a:gd name="T75" fmla="*/ 53 h 70"/>
                    <a:gd name="T76" fmla="*/ 20 w 62"/>
                    <a:gd name="T77" fmla="*/ 47 h 70"/>
                    <a:gd name="T78" fmla="*/ 16 w 62"/>
                    <a:gd name="T79" fmla="*/ 51 h 70"/>
                    <a:gd name="T80" fmla="*/ 62 w 62"/>
                    <a:gd name="T81" fmla="*/ 55 h 70"/>
                    <a:gd name="T82" fmla="*/ 31 w 62"/>
                    <a:gd name="T83" fmla="*/ 70 h 70"/>
                    <a:gd name="T84" fmla="*/ 0 w 62"/>
                    <a:gd name="T85" fmla="*/ 55 h 70"/>
                    <a:gd name="T86" fmla="*/ 20 w 62"/>
                    <a:gd name="T87" fmla="*/ 41 h 70"/>
                    <a:gd name="T88" fmla="*/ 23 w 62"/>
                    <a:gd name="T89" fmla="*/ 44 h 70"/>
                    <a:gd name="T90" fmla="*/ 3 w 62"/>
                    <a:gd name="T91" fmla="*/ 55 h 70"/>
                    <a:gd name="T92" fmla="*/ 31 w 62"/>
                    <a:gd name="T93" fmla="*/ 67 h 70"/>
                    <a:gd name="T94" fmla="*/ 59 w 62"/>
                    <a:gd name="T95" fmla="*/ 55 h 70"/>
                    <a:gd name="T96" fmla="*/ 39 w 62"/>
                    <a:gd name="T97" fmla="*/ 44 h 70"/>
                    <a:gd name="T98" fmla="*/ 42 w 62"/>
                    <a:gd name="T99" fmla="*/ 41 h 70"/>
                    <a:gd name="T100" fmla="*/ 62 w 62"/>
                    <a:gd name="T101" fmla="*/ 55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2" h="70">
                      <a:moveTo>
                        <a:pt x="31" y="49"/>
                      </a:moveTo>
                      <a:cubicBezTo>
                        <a:pt x="45" y="35"/>
                        <a:pt x="45" y="35"/>
                        <a:pt x="45" y="35"/>
                      </a:cubicBezTo>
                      <a:cubicBezTo>
                        <a:pt x="52" y="27"/>
                        <a:pt x="52" y="15"/>
                        <a:pt x="45" y="8"/>
                      </a:cubicBezTo>
                      <a:cubicBezTo>
                        <a:pt x="37" y="0"/>
                        <a:pt x="25" y="0"/>
                        <a:pt x="17" y="8"/>
                      </a:cubicBezTo>
                      <a:cubicBezTo>
                        <a:pt x="10" y="15"/>
                        <a:pt x="10" y="27"/>
                        <a:pt x="17" y="35"/>
                      </a:cubicBezTo>
                      <a:lnTo>
                        <a:pt x="31" y="49"/>
                      </a:lnTo>
                      <a:close/>
                      <a:moveTo>
                        <a:pt x="31" y="8"/>
                      </a:moveTo>
                      <a:cubicBezTo>
                        <a:pt x="38" y="8"/>
                        <a:pt x="44" y="14"/>
                        <a:pt x="44" y="21"/>
                      </a:cubicBezTo>
                      <a:cubicBezTo>
                        <a:pt x="44" y="29"/>
                        <a:pt x="38" y="34"/>
                        <a:pt x="31" y="34"/>
                      </a:cubicBezTo>
                      <a:cubicBezTo>
                        <a:pt x="24" y="34"/>
                        <a:pt x="18" y="29"/>
                        <a:pt x="18" y="21"/>
                      </a:cubicBezTo>
                      <a:cubicBezTo>
                        <a:pt x="18" y="14"/>
                        <a:pt x="24" y="8"/>
                        <a:pt x="31" y="8"/>
                      </a:cubicBezTo>
                      <a:close/>
                      <a:moveTo>
                        <a:pt x="25" y="50"/>
                      </a:moveTo>
                      <a:cubicBezTo>
                        <a:pt x="25" y="49"/>
                        <a:pt x="26" y="49"/>
                        <a:pt x="27" y="48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0" y="51"/>
                        <a:pt x="30" y="51"/>
                        <a:pt x="31" y="51"/>
                      </a:cubicBezTo>
                      <a:cubicBezTo>
                        <a:pt x="31" y="51"/>
                        <a:pt x="32" y="51"/>
                        <a:pt x="32" y="50"/>
                      </a:cubicBezTo>
                      <a:cubicBezTo>
                        <a:pt x="34" y="48"/>
                        <a:pt x="34" y="48"/>
                        <a:pt x="34" y="48"/>
                      </a:cubicBezTo>
                      <a:cubicBezTo>
                        <a:pt x="36" y="49"/>
                        <a:pt x="37" y="49"/>
                        <a:pt x="37" y="50"/>
                      </a:cubicBezTo>
                      <a:cubicBezTo>
                        <a:pt x="37" y="52"/>
                        <a:pt x="34" y="53"/>
                        <a:pt x="31" y="53"/>
                      </a:cubicBezTo>
                      <a:cubicBezTo>
                        <a:pt x="28" y="53"/>
                        <a:pt x="25" y="52"/>
                        <a:pt x="25" y="50"/>
                      </a:cubicBezTo>
                      <a:close/>
                      <a:moveTo>
                        <a:pt x="8" y="53"/>
                      </a:moveTo>
                      <a:cubicBezTo>
                        <a:pt x="8" y="58"/>
                        <a:pt x="18" y="62"/>
                        <a:pt x="31" y="62"/>
                      </a:cubicBezTo>
                      <a:cubicBezTo>
                        <a:pt x="44" y="62"/>
                        <a:pt x="54" y="58"/>
                        <a:pt x="54" y="53"/>
                      </a:cubicBezTo>
                      <a:cubicBezTo>
                        <a:pt x="54" y="49"/>
                        <a:pt x="48" y="45"/>
                        <a:pt x="39" y="44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41" y="48"/>
                        <a:pt x="44" y="49"/>
                        <a:pt x="44" y="51"/>
                      </a:cubicBezTo>
                      <a:cubicBezTo>
                        <a:pt x="44" y="52"/>
                        <a:pt x="39" y="54"/>
                        <a:pt x="31" y="54"/>
                      </a:cubicBezTo>
                      <a:cubicBezTo>
                        <a:pt x="23" y="54"/>
                        <a:pt x="18" y="52"/>
                        <a:pt x="18" y="51"/>
                      </a:cubicBezTo>
                      <a:cubicBezTo>
                        <a:pt x="18" y="49"/>
                        <a:pt x="21" y="48"/>
                        <a:pt x="26" y="47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4" y="45"/>
                        <a:pt x="8" y="49"/>
                        <a:pt x="8" y="53"/>
                      </a:cubicBezTo>
                      <a:close/>
                      <a:moveTo>
                        <a:pt x="16" y="51"/>
                      </a:moveTo>
                      <a:cubicBezTo>
                        <a:pt x="16" y="54"/>
                        <a:pt x="23" y="56"/>
                        <a:pt x="31" y="56"/>
                      </a:cubicBezTo>
                      <a:cubicBezTo>
                        <a:pt x="39" y="56"/>
                        <a:pt x="46" y="54"/>
                        <a:pt x="46" y="51"/>
                      </a:cubicBezTo>
                      <a:cubicBezTo>
                        <a:pt x="46" y="49"/>
                        <a:pt x="44" y="47"/>
                        <a:pt x="42" y="47"/>
                      </a:cubicBezTo>
                      <a:cubicBezTo>
                        <a:pt x="48" y="48"/>
                        <a:pt x="52" y="50"/>
                        <a:pt x="52" y="53"/>
                      </a:cubicBezTo>
                      <a:cubicBezTo>
                        <a:pt x="52" y="56"/>
                        <a:pt x="43" y="60"/>
                        <a:pt x="31" y="60"/>
                      </a:cubicBezTo>
                      <a:cubicBezTo>
                        <a:pt x="19" y="60"/>
                        <a:pt x="10" y="56"/>
                        <a:pt x="10" y="53"/>
                      </a:cubicBezTo>
                      <a:cubicBezTo>
                        <a:pt x="10" y="50"/>
                        <a:pt x="14" y="48"/>
                        <a:pt x="20" y="47"/>
                      </a:cubicBezTo>
                      <a:cubicBezTo>
                        <a:pt x="17" y="47"/>
                        <a:pt x="16" y="49"/>
                        <a:pt x="16" y="51"/>
                      </a:cubicBezTo>
                      <a:close/>
                      <a:moveTo>
                        <a:pt x="62" y="55"/>
                      </a:moveTo>
                      <a:cubicBezTo>
                        <a:pt x="62" y="64"/>
                        <a:pt x="49" y="70"/>
                        <a:pt x="31" y="70"/>
                      </a:cubicBezTo>
                      <a:cubicBezTo>
                        <a:pt x="13" y="70"/>
                        <a:pt x="0" y="64"/>
                        <a:pt x="0" y="55"/>
                      </a:cubicBezTo>
                      <a:cubicBezTo>
                        <a:pt x="0" y="49"/>
                        <a:pt x="8" y="43"/>
                        <a:pt x="20" y="41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0" y="45"/>
                        <a:pt x="3" y="50"/>
                        <a:pt x="3" y="55"/>
                      </a:cubicBezTo>
                      <a:cubicBezTo>
                        <a:pt x="3" y="61"/>
                        <a:pt x="14" y="67"/>
                        <a:pt x="31" y="67"/>
                      </a:cubicBezTo>
                      <a:cubicBezTo>
                        <a:pt x="48" y="67"/>
                        <a:pt x="59" y="61"/>
                        <a:pt x="59" y="55"/>
                      </a:cubicBezTo>
                      <a:cubicBezTo>
                        <a:pt x="59" y="50"/>
                        <a:pt x="51" y="45"/>
                        <a:pt x="39" y="44"/>
                      </a:cubicBezTo>
                      <a:cubicBezTo>
                        <a:pt x="42" y="41"/>
                        <a:pt x="42" y="41"/>
                        <a:pt x="42" y="41"/>
                      </a:cubicBezTo>
                      <a:cubicBezTo>
                        <a:pt x="54" y="43"/>
                        <a:pt x="62" y="49"/>
                        <a:pt x="62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8" name="Freeform 71">
                  <a:extLst>
                    <a:ext uri="{FF2B5EF4-FFF2-40B4-BE49-F238E27FC236}">
                      <a16:creationId xmlns:a16="http://schemas.microsoft.com/office/drawing/2014/main" id="{DEE1C733-1F97-49BE-842D-8BFD9C9883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05586" y="4925363"/>
                  <a:ext cx="282662" cy="28266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9" name="Freeform 52">
                  <a:extLst>
                    <a:ext uri="{FF2B5EF4-FFF2-40B4-BE49-F238E27FC236}">
                      <a16:creationId xmlns:a16="http://schemas.microsoft.com/office/drawing/2014/main" id="{74246B0C-5A8F-4089-A428-95649AB658B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99324" y="5343165"/>
                  <a:ext cx="269059" cy="253140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0" name="Freeform 28">
                  <a:extLst>
                    <a:ext uri="{FF2B5EF4-FFF2-40B4-BE49-F238E27FC236}">
                      <a16:creationId xmlns:a16="http://schemas.microsoft.com/office/drawing/2014/main" id="{6D208DE1-A76F-40A9-819D-9253498A42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04825" y="3901485"/>
                  <a:ext cx="450645" cy="365668"/>
                </a:xfrm>
                <a:custGeom>
                  <a:avLst/>
                  <a:gdLst>
                    <a:gd name="T0" fmla="*/ 26 w 74"/>
                    <a:gd name="T1" fmla="*/ 0 h 60"/>
                    <a:gd name="T2" fmla="*/ 19 w 74"/>
                    <a:gd name="T3" fmla="*/ 53 h 60"/>
                    <a:gd name="T4" fmla="*/ 49 w 74"/>
                    <a:gd name="T5" fmla="*/ 60 h 60"/>
                    <a:gd name="T6" fmla="*/ 56 w 74"/>
                    <a:gd name="T7" fmla="*/ 7 h 60"/>
                    <a:gd name="T8" fmla="*/ 53 w 74"/>
                    <a:gd name="T9" fmla="*/ 7 h 60"/>
                    <a:gd name="T10" fmla="*/ 49 w 74"/>
                    <a:gd name="T11" fmla="*/ 57 h 60"/>
                    <a:gd name="T12" fmla="*/ 22 w 74"/>
                    <a:gd name="T13" fmla="*/ 53 h 60"/>
                    <a:gd name="T14" fmla="*/ 26 w 74"/>
                    <a:gd name="T15" fmla="*/ 3 h 60"/>
                    <a:gd name="T16" fmla="*/ 53 w 74"/>
                    <a:gd name="T17" fmla="*/ 7 h 60"/>
                    <a:gd name="T18" fmla="*/ 25 w 74"/>
                    <a:gd name="T19" fmla="*/ 6 h 60"/>
                    <a:gd name="T20" fmla="*/ 24 w 74"/>
                    <a:gd name="T21" fmla="*/ 50 h 60"/>
                    <a:gd name="T22" fmla="*/ 50 w 74"/>
                    <a:gd name="T23" fmla="*/ 51 h 60"/>
                    <a:gd name="T24" fmla="*/ 51 w 74"/>
                    <a:gd name="T25" fmla="*/ 7 h 60"/>
                    <a:gd name="T26" fmla="*/ 49 w 74"/>
                    <a:gd name="T27" fmla="*/ 49 h 60"/>
                    <a:gd name="T28" fmla="*/ 26 w 74"/>
                    <a:gd name="T29" fmla="*/ 8 h 60"/>
                    <a:gd name="T30" fmla="*/ 49 w 74"/>
                    <a:gd name="T31" fmla="*/ 49 h 60"/>
                    <a:gd name="T32" fmla="*/ 37 w 74"/>
                    <a:gd name="T33" fmla="*/ 56 h 60"/>
                    <a:gd name="T34" fmla="*/ 37 w 74"/>
                    <a:gd name="T35" fmla="*/ 52 h 60"/>
                    <a:gd name="T36" fmla="*/ 74 w 74"/>
                    <a:gd name="T37" fmla="*/ 23 h 60"/>
                    <a:gd name="T38" fmla="*/ 67 w 74"/>
                    <a:gd name="T39" fmla="*/ 41 h 60"/>
                    <a:gd name="T40" fmla="*/ 66 w 74"/>
                    <a:gd name="T41" fmla="*/ 39 h 60"/>
                    <a:gd name="T42" fmla="*/ 66 w 74"/>
                    <a:gd name="T43" fmla="*/ 7 h 60"/>
                    <a:gd name="T44" fmla="*/ 68 w 74"/>
                    <a:gd name="T45" fmla="*/ 6 h 60"/>
                    <a:gd name="T46" fmla="*/ 69 w 74"/>
                    <a:gd name="T47" fmla="*/ 23 h 60"/>
                    <a:gd name="T48" fmla="*/ 64 w 74"/>
                    <a:gd name="T49" fmla="*/ 37 h 60"/>
                    <a:gd name="T50" fmla="*/ 63 w 74"/>
                    <a:gd name="T51" fmla="*/ 35 h 60"/>
                    <a:gd name="T52" fmla="*/ 63 w 74"/>
                    <a:gd name="T53" fmla="*/ 11 h 60"/>
                    <a:gd name="T54" fmla="*/ 65 w 74"/>
                    <a:gd name="T55" fmla="*/ 10 h 60"/>
                    <a:gd name="T56" fmla="*/ 64 w 74"/>
                    <a:gd name="T57" fmla="*/ 23 h 60"/>
                    <a:gd name="T58" fmla="*/ 60 w 74"/>
                    <a:gd name="T59" fmla="*/ 33 h 60"/>
                    <a:gd name="T60" fmla="*/ 60 w 74"/>
                    <a:gd name="T61" fmla="*/ 31 h 60"/>
                    <a:gd name="T62" fmla="*/ 60 w 74"/>
                    <a:gd name="T63" fmla="*/ 15 h 60"/>
                    <a:gd name="T64" fmla="*/ 61 w 74"/>
                    <a:gd name="T65" fmla="*/ 14 h 60"/>
                    <a:gd name="T66" fmla="*/ 8 w 74"/>
                    <a:gd name="T67" fmla="*/ 39 h 60"/>
                    <a:gd name="T68" fmla="*/ 7 w 74"/>
                    <a:gd name="T69" fmla="*/ 41 h 60"/>
                    <a:gd name="T70" fmla="*/ 0 w 74"/>
                    <a:gd name="T71" fmla="*/ 23 h 60"/>
                    <a:gd name="T72" fmla="*/ 8 w 74"/>
                    <a:gd name="T73" fmla="*/ 6 h 60"/>
                    <a:gd name="T74" fmla="*/ 2 w 74"/>
                    <a:gd name="T75" fmla="*/ 23 h 60"/>
                    <a:gd name="T76" fmla="*/ 12 w 74"/>
                    <a:gd name="T77" fmla="*/ 35 h 60"/>
                    <a:gd name="T78" fmla="*/ 11 w 74"/>
                    <a:gd name="T79" fmla="*/ 37 h 60"/>
                    <a:gd name="T80" fmla="*/ 6 w 74"/>
                    <a:gd name="T81" fmla="*/ 23 h 60"/>
                    <a:gd name="T82" fmla="*/ 11 w 74"/>
                    <a:gd name="T83" fmla="*/ 10 h 60"/>
                    <a:gd name="T84" fmla="*/ 8 w 74"/>
                    <a:gd name="T85" fmla="*/ 23 h 60"/>
                    <a:gd name="T86" fmla="*/ 15 w 74"/>
                    <a:gd name="T87" fmla="*/ 15 h 60"/>
                    <a:gd name="T88" fmla="*/ 15 w 74"/>
                    <a:gd name="T89" fmla="*/ 31 h 60"/>
                    <a:gd name="T90" fmla="*/ 14 w 74"/>
                    <a:gd name="T91" fmla="*/ 33 h 60"/>
                    <a:gd name="T92" fmla="*/ 11 w 74"/>
                    <a:gd name="T93" fmla="*/ 23 h 60"/>
                    <a:gd name="T94" fmla="*/ 15 w 74"/>
                    <a:gd name="T95" fmla="*/ 1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4" h="60">
                      <a:moveTo>
                        <a:pt x="49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2" y="0"/>
                        <a:pt x="19" y="3"/>
                        <a:pt x="19" y="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6"/>
                        <a:pt x="22" y="60"/>
                        <a:pt x="26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3" y="60"/>
                        <a:pt x="56" y="56"/>
                        <a:pt x="56" y="53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3"/>
                        <a:pt x="53" y="0"/>
                        <a:pt x="49" y="0"/>
                      </a:cubicBezTo>
                      <a:close/>
                      <a:moveTo>
                        <a:pt x="53" y="7"/>
                      </a:moveTo>
                      <a:cubicBezTo>
                        <a:pt x="53" y="53"/>
                        <a:pt x="53" y="53"/>
                        <a:pt x="53" y="53"/>
                      </a:cubicBezTo>
                      <a:cubicBezTo>
                        <a:pt x="53" y="55"/>
                        <a:pt x="51" y="57"/>
                        <a:pt x="49" y="57"/>
                      </a:cubicBezTo>
                      <a:cubicBezTo>
                        <a:pt x="26" y="57"/>
                        <a:pt x="26" y="57"/>
                        <a:pt x="26" y="57"/>
                      </a:cubicBezTo>
                      <a:cubicBezTo>
                        <a:pt x="24" y="57"/>
                        <a:pt x="22" y="55"/>
                        <a:pt x="22" y="53"/>
                      </a:cubicBezTo>
                      <a:cubicBezTo>
                        <a:pt x="22" y="7"/>
                        <a:pt x="22" y="7"/>
                        <a:pt x="22" y="7"/>
                      </a:cubicBezTo>
                      <a:cubicBezTo>
                        <a:pt x="22" y="5"/>
                        <a:pt x="24" y="3"/>
                        <a:pt x="26" y="3"/>
                      </a:cubicBezTo>
                      <a:cubicBezTo>
                        <a:pt x="49" y="3"/>
                        <a:pt x="49" y="3"/>
                        <a:pt x="49" y="3"/>
                      </a:cubicBezTo>
                      <a:cubicBezTo>
                        <a:pt x="51" y="3"/>
                        <a:pt x="53" y="5"/>
                        <a:pt x="53" y="7"/>
                      </a:cubicBezTo>
                      <a:close/>
                      <a:moveTo>
                        <a:pt x="50" y="6"/>
                      </a:move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4" y="6"/>
                        <a:pt x="24" y="6"/>
                        <a:pt x="24" y="7"/>
                      </a:cubicBezTo>
                      <a:cubicBezTo>
                        <a:pt x="24" y="50"/>
                        <a:pt x="24" y="50"/>
                        <a:pt x="24" y="50"/>
                      </a:cubicBezTo>
                      <a:cubicBezTo>
                        <a:pt x="24" y="51"/>
                        <a:pt x="24" y="51"/>
                        <a:pt x="25" y="51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50" y="51"/>
                        <a:pt x="51" y="51"/>
                        <a:pt x="51" y="50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51" y="6"/>
                        <a:pt x="50" y="6"/>
                        <a:pt x="50" y="6"/>
                      </a:cubicBezTo>
                      <a:close/>
                      <a:moveTo>
                        <a:pt x="49" y="49"/>
                      </a:move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49" y="8"/>
                        <a:pt x="49" y="8"/>
                        <a:pt x="49" y="8"/>
                      </a:cubicBezTo>
                      <a:lnTo>
                        <a:pt x="49" y="49"/>
                      </a:lnTo>
                      <a:close/>
                      <a:moveTo>
                        <a:pt x="39" y="54"/>
                      </a:moveTo>
                      <a:cubicBezTo>
                        <a:pt x="39" y="55"/>
                        <a:pt x="38" y="56"/>
                        <a:pt x="37" y="56"/>
                      </a:cubicBezTo>
                      <a:cubicBezTo>
                        <a:pt x="36" y="56"/>
                        <a:pt x="35" y="55"/>
                        <a:pt x="35" y="54"/>
                      </a:cubicBezTo>
                      <a:cubicBezTo>
                        <a:pt x="35" y="53"/>
                        <a:pt x="36" y="52"/>
                        <a:pt x="37" y="52"/>
                      </a:cubicBezTo>
                      <a:cubicBezTo>
                        <a:pt x="38" y="52"/>
                        <a:pt x="39" y="53"/>
                        <a:pt x="39" y="54"/>
                      </a:cubicBezTo>
                      <a:close/>
                      <a:moveTo>
                        <a:pt x="74" y="23"/>
                      </a:moveTo>
                      <a:cubicBezTo>
                        <a:pt x="74" y="30"/>
                        <a:pt x="72" y="36"/>
                        <a:pt x="68" y="41"/>
                      </a:cubicBezTo>
                      <a:cubicBezTo>
                        <a:pt x="68" y="41"/>
                        <a:pt x="67" y="41"/>
                        <a:pt x="67" y="41"/>
                      </a:cubicBezTo>
                      <a:cubicBezTo>
                        <a:pt x="67" y="41"/>
                        <a:pt x="67" y="41"/>
                        <a:pt x="67" y="41"/>
                      </a:cubicBezTo>
                      <a:cubicBezTo>
                        <a:pt x="66" y="40"/>
                        <a:pt x="66" y="40"/>
                        <a:pt x="66" y="39"/>
                      </a:cubicBezTo>
                      <a:cubicBezTo>
                        <a:pt x="70" y="35"/>
                        <a:pt x="72" y="29"/>
                        <a:pt x="72" y="23"/>
                      </a:cubicBezTo>
                      <a:cubicBezTo>
                        <a:pt x="72" y="17"/>
                        <a:pt x="70" y="12"/>
                        <a:pt x="66" y="7"/>
                      </a:cubicBezTo>
                      <a:cubicBezTo>
                        <a:pt x="66" y="7"/>
                        <a:pt x="66" y="6"/>
                        <a:pt x="67" y="6"/>
                      </a:cubicBezTo>
                      <a:cubicBezTo>
                        <a:pt x="67" y="5"/>
                        <a:pt x="68" y="6"/>
                        <a:pt x="68" y="6"/>
                      </a:cubicBezTo>
                      <a:cubicBezTo>
                        <a:pt x="72" y="11"/>
                        <a:pt x="74" y="17"/>
                        <a:pt x="74" y="23"/>
                      </a:cubicBezTo>
                      <a:close/>
                      <a:moveTo>
                        <a:pt x="69" y="23"/>
                      </a:moveTo>
                      <a:cubicBezTo>
                        <a:pt x="69" y="28"/>
                        <a:pt x="67" y="33"/>
                        <a:pt x="65" y="36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cubicBezTo>
                        <a:pt x="64" y="37"/>
                        <a:pt x="63" y="37"/>
                        <a:pt x="63" y="37"/>
                      </a:cubicBezTo>
                      <a:cubicBezTo>
                        <a:pt x="63" y="36"/>
                        <a:pt x="63" y="36"/>
                        <a:pt x="63" y="35"/>
                      </a:cubicBezTo>
                      <a:cubicBezTo>
                        <a:pt x="66" y="32"/>
                        <a:pt x="67" y="28"/>
                        <a:pt x="67" y="23"/>
                      </a:cubicBezTo>
                      <a:cubicBezTo>
                        <a:pt x="67" y="19"/>
                        <a:pt x="66" y="15"/>
                        <a:pt x="63" y="11"/>
                      </a:cubicBezTo>
                      <a:cubicBezTo>
                        <a:pt x="63" y="11"/>
                        <a:pt x="63" y="10"/>
                        <a:pt x="63" y="10"/>
                      </a:cubicBezTo>
                      <a:cubicBezTo>
                        <a:pt x="64" y="10"/>
                        <a:pt x="64" y="10"/>
                        <a:pt x="65" y="10"/>
                      </a:cubicBezTo>
                      <a:cubicBezTo>
                        <a:pt x="67" y="14"/>
                        <a:pt x="69" y="19"/>
                        <a:pt x="69" y="23"/>
                      </a:cubicBezTo>
                      <a:close/>
                      <a:moveTo>
                        <a:pt x="64" y="23"/>
                      </a:moveTo>
                      <a:cubicBezTo>
                        <a:pt x="64" y="26"/>
                        <a:pt x="63" y="29"/>
                        <a:pt x="61" y="32"/>
                      </a:cubicBezTo>
                      <a:cubicBezTo>
                        <a:pt x="61" y="32"/>
                        <a:pt x="61" y="33"/>
                        <a:pt x="60" y="33"/>
                      </a:cubicBezTo>
                      <a:cubicBezTo>
                        <a:pt x="60" y="33"/>
                        <a:pt x="60" y="33"/>
                        <a:pt x="60" y="33"/>
                      </a:cubicBezTo>
                      <a:cubicBezTo>
                        <a:pt x="59" y="32"/>
                        <a:pt x="59" y="32"/>
                        <a:pt x="60" y="31"/>
                      </a:cubicBezTo>
                      <a:cubicBezTo>
                        <a:pt x="61" y="29"/>
                        <a:pt x="62" y="26"/>
                        <a:pt x="62" y="23"/>
                      </a:cubicBezTo>
                      <a:cubicBezTo>
                        <a:pt x="62" y="21"/>
                        <a:pt x="61" y="18"/>
                        <a:pt x="60" y="15"/>
                      </a:cubicBezTo>
                      <a:cubicBezTo>
                        <a:pt x="59" y="15"/>
                        <a:pt x="59" y="14"/>
                        <a:pt x="60" y="14"/>
                      </a:cubicBezTo>
                      <a:cubicBezTo>
                        <a:pt x="60" y="14"/>
                        <a:pt x="61" y="14"/>
                        <a:pt x="61" y="14"/>
                      </a:cubicBezTo>
                      <a:cubicBezTo>
                        <a:pt x="63" y="17"/>
                        <a:pt x="64" y="20"/>
                        <a:pt x="64" y="23"/>
                      </a:cubicBezTo>
                      <a:close/>
                      <a:moveTo>
                        <a:pt x="8" y="39"/>
                      </a:moveTo>
                      <a:cubicBezTo>
                        <a:pt x="9" y="40"/>
                        <a:pt x="8" y="40"/>
                        <a:pt x="8" y="41"/>
                      </a:cubicBezTo>
                      <a:cubicBezTo>
                        <a:pt x="8" y="41"/>
                        <a:pt x="8" y="41"/>
                        <a:pt x="7" y="41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3" y="36"/>
                        <a:pt x="0" y="30"/>
                        <a:pt x="0" y="23"/>
                      </a:cubicBezTo>
                      <a:cubicBezTo>
                        <a:pt x="0" y="17"/>
                        <a:pt x="3" y="11"/>
                        <a:pt x="7" y="6"/>
                      </a:cubicBezTo>
                      <a:cubicBezTo>
                        <a:pt x="7" y="6"/>
                        <a:pt x="8" y="5"/>
                        <a:pt x="8" y="6"/>
                      </a:cubicBezTo>
                      <a:cubicBezTo>
                        <a:pt x="8" y="6"/>
                        <a:pt x="9" y="7"/>
                        <a:pt x="8" y="7"/>
                      </a:cubicBezTo>
                      <a:cubicBezTo>
                        <a:pt x="5" y="12"/>
                        <a:pt x="2" y="17"/>
                        <a:pt x="2" y="23"/>
                      </a:cubicBezTo>
                      <a:cubicBezTo>
                        <a:pt x="2" y="29"/>
                        <a:pt x="5" y="35"/>
                        <a:pt x="8" y="39"/>
                      </a:cubicBezTo>
                      <a:close/>
                      <a:moveTo>
                        <a:pt x="12" y="35"/>
                      </a:moveTo>
                      <a:cubicBezTo>
                        <a:pt x="12" y="36"/>
                        <a:pt x="12" y="36"/>
                        <a:pt x="11" y="37"/>
                      </a:cubicBezTo>
                      <a:cubicBezTo>
                        <a:pt x="11" y="37"/>
                        <a:pt x="11" y="37"/>
                        <a:pt x="11" y="37"/>
                      </a:cubicBezTo>
                      <a:cubicBezTo>
                        <a:pt x="10" y="37"/>
                        <a:pt x="10" y="37"/>
                        <a:pt x="10" y="36"/>
                      </a:cubicBezTo>
                      <a:cubicBezTo>
                        <a:pt x="7" y="33"/>
                        <a:pt x="6" y="28"/>
                        <a:pt x="6" y="23"/>
                      </a:cubicBezTo>
                      <a:cubicBezTo>
                        <a:pt x="6" y="19"/>
                        <a:pt x="7" y="14"/>
                        <a:pt x="10" y="10"/>
                      </a:cubicBezTo>
                      <a:cubicBezTo>
                        <a:pt x="10" y="10"/>
                        <a:pt x="11" y="10"/>
                        <a:pt x="11" y="10"/>
                      </a:cubicBezTo>
                      <a:cubicBezTo>
                        <a:pt x="12" y="10"/>
                        <a:pt x="12" y="11"/>
                        <a:pt x="12" y="11"/>
                      </a:cubicBezTo>
                      <a:cubicBezTo>
                        <a:pt x="9" y="15"/>
                        <a:pt x="8" y="19"/>
                        <a:pt x="8" y="23"/>
                      </a:cubicBezTo>
                      <a:cubicBezTo>
                        <a:pt x="8" y="28"/>
                        <a:pt x="9" y="32"/>
                        <a:pt x="12" y="35"/>
                      </a:cubicBezTo>
                      <a:close/>
                      <a:moveTo>
                        <a:pt x="15" y="15"/>
                      </a:moveTo>
                      <a:cubicBezTo>
                        <a:pt x="14" y="18"/>
                        <a:pt x="13" y="21"/>
                        <a:pt x="13" y="23"/>
                      </a:cubicBezTo>
                      <a:cubicBezTo>
                        <a:pt x="13" y="26"/>
                        <a:pt x="14" y="29"/>
                        <a:pt x="15" y="31"/>
                      </a:cubicBezTo>
                      <a:cubicBezTo>
                        <a:pt x="15" y="32"/>
                        <a:pt x="15" y="32"/>
                        <a:pt x="15" y="33"/>
                      </a:cubicBezTo>
                      <a:cubicBezTo>
                        <a:pt x="15" y="33"/>
                        <a:pt x="14" y="33"/>
                        <a:pt x="14" y="33"/>
                      </a:cubicBezTo>
                      <a:cubicBezTo>
                        <a:pt x="14" y="33"/>
                        <a:pt x="14" y="32"/>
                        <a:pt x="13" y="32"/>
                      </a:cubicBezTo>
                      <a:cubicBezTo>
                        <a:pt x="12" y="29"/>
                        <a:pt x="11" y="26"/>
                        <a:pt x="11" y="23"/>
                      </a:cubicBezTo>
                      <a:cubicBezTo>
                        <a:pt x="11" y="20"/>
                        <a:pt x="12" y="17"/>
                        <a:pt x="13" y="14"/>
                      </a:cubicBezTo>
                      <a:cubicBezTo>
                        <a:pt x="14" y="14"/>
                        <a:pt x="14" y="14"/>
                        <a:pt x="15" y="14"/>
                      </a:cubicBezTo>
                      <a:cubicBezTo>
                        <a:pt x="15" y="14"/>
                        <a:pt x="15" y="15"/>
                        <a:pt x="15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1" name="Freeform 36">
                  <a:extLst>
                    <a:ext uri="{FF2B5EF4-FFF2-40B4-BE49-F238E27FC236}">
                      <a16:creationId xmlns:a16="http://schemas.microsoft.com/office/drawing/2014/main" id="{A7AF3B0C-BDF4-48A1-8557-5069A8E58E9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82123" y="3933313"/>
                  <a:ext cx="154602" cy="15460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2" name="Freeform 24">
                  <a:extLst>
                    <a:ext uri="{FF2B5EF4-FFF2-40B4-BE49-F238E27FC236}">
                      <a16:creationId xmlns:a16="http://schemas.microsoft.com/office/drawing/2014/main" id="{5CEEFE5E-4720-4C08-9876-D30B51BCDF1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76463" y="4958743"/>
                  <a:ext cx="432385" cy="456077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3" name="Freeform 33">
                  <a:extLst>
                    <a:ext uri="{FF2B5EF4-FFF2-40B4-BE49-F238E27FC236}">
                      <a16:creationId xmlns:a16="http://schemas.microsoft.com/office/drawing/2014/main" id="{664AA27A-186A-496C-8955-7312052F09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82120" y="3507224"/>
                  <a:ext cx="277453" cy="284221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4" name="Freeform 16">
                  <a:extLst>
                    <a:ext uri="{FF2B5EF4-FFF2-40B4-BE49-F238E27FC236}">
                      <a16:creationId xmlns:a16="http://schemas.microsoft.com/office/drawing/2014/main" id="{6EA55463-BAC6-4A4C-9FC2-9303CD59E22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77545" y="4645950"/>
                  <a:ext cx="304036" cy="335220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5" name="Freeform 30">
                  <a:extLst>
                    <a:ext uri="{FF2B5EF4-FFF2-40B4-BE49-F238E27FC236}">
                      <a16:creationId xmlns:a16="http://schemas.microsoft.com/office/drawing/2014/main" id="{46790598-83A7-4A33-AACB-C43A49D39F7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24046" y="4572825"/>
                  <a:ext cx="323527" cy="307075"/>
                </a:xfrm>
                <a:custGeom>
                  <a:avLst/>
                  <a:gdLst>
                    <a:gd name="T0" fmla="*/ 75 w 75"/>
                    <a:gd name="T1" fmla="*/ 27 h 71"/>
                    <a:gd name="T2" fmla="*/ 69 w 75"/>
                    <a:gd name="T3" fmla="*/ 14 h 71"/>
                    <a:gd name="T4" fmla="*/ 64 w 75"/>
                    <a:gd name="T5" fmla="*/ 0 h 71"/>
                    <a:gd name="T6" fmla="*/ 5 w 75"/>
                    <a:gd name="T7" fmla="*/ 11 h 71"/>
                    <a:gd name="T8" fmla="*/ 1 w 75"/>
                    <a:gd name="T9" fmla="*/ 26 h 71"/>
                    <a:gd name="T10" fmla="*/ 0 w 75"/>
                    <a:gd name="T11" fmla="*/ 31 h 71"/>
                    <a:gd name="T12" fmla="*/ 1 w 75"/>
                    <a:gd name="T13" fmla="*/ 65 h 71"/>
                    <a:gd name="T14" fmla="*/ 70 w 75"/>
                    <a:gd name="T15" fmla="*/ 71 h 71"/>
                    <a:gd name="T16" fmla="*/ 70 w 75"/>
                    <a:gd name="T17" fmla="*/ 61 h 71"/>
                    <a:gd name="T18" fmla="*/ 4 w 75"/>
                    <a:gd name="T19" fmla="*/ 26 h 71"/>
                    <a:gd name="T20" fmla="*/ 71 w 75"/>
                    <a:gd name="T21" fmla="*/ 26 h 71"/>
                    <a:gd name="T22" fmla="*/ 58 w 75"/>
                    <a:gd name="T23" fmla="*/ 33 h 71"/>
                    <a:gd name="T24" fmla="*/ 54 w 75"/>
                    <a:gd name="T25" fmla="*/ 28 h 71"/>
                    <a:gd name="T26" fmla="*/ 52 w 75"/>
                    <a:gd name="T27" fmla="*/ 31 h 71"/>
                    <a:gd name="T28" fmla="*/ 44 w 75"/>
                    <a:gd name="T29" fmla="*/ 31 h 71"/>
                    <a:gd name="T30" fmla="*/ 52 w 75"/>
                    <a:gd name="T31" fmla="*/ 31 h 71"/>
                    <a:gd name="T32" fmla="*/ 37 w 75"/>
                    <a:gd name="T33" fmla="*/ 33 h 71"/>
                    <a:gd name="T34" fmla="*/ 42 w 75"/>
                    <a:gd name="T35" fmla="*/ 28 h 71"/>
                    <a:gd name="T36" fmla="*/ 28 w 75"/>
                    <a:gd name="T37" fmla="*/ 33 h 71"/>
                    <a:gd name="T38" fmla="*/ 23 w 75"/>
                    <a:gd name="T39" fmla="*/ 28 h 71"/>
                    <a:gd name="T40" fmla="*/ 21 w 75"/>
                    <a:gd name="T41" fmla="*/ 28 h 71"/>
                    <a:gd name="T42" fmla="*/ 17 w 75"/>
                    <a:gd name="T43" fmla="*/ 33 h 71"/>
                    <a:gd name="T44" fmla="*/ 21 w 75"/>
                    <a:gd name="T45" fmla="*/ 28 h 71"/>
                    <a:gd name="T46" fmla="*/ 18 w 75"/>
                    <a:gd name="T47" fmla="*/ 35 h 71"/>
                    <a:gd name="T48" fmla="*/ 28 w 75"/>
                    <a:gd name="T49" fmla="*/ 35 h 71"/>
                    <a:gd name="T50" fmla="*/ 38 w 75"/>
                    <a:gd name="T51" fmla="*/ 35 h 71"/>
                    <a:gd name="T52" fmla="*/ 48 w 75"/>
                    <a:gd name="T53" fmla="*/ 35 h 71"/>
                    <a:gd name="T54" fmla="*/ 58 w 75"/>
                    <a:gd name="T55" fmla="*/ 35 h 71"/>
                    <a:gd name="T56" fmla="*/ 67 w 75"/>
                    <a:gd name="T57" fmla="*/ 62 h 71"/>
                    <a:gd name="T58" fmla="*/ 29 w 75"/>
                    <a:gd name="T59" fmla="*/ 40 h 71"/>
                    <a:gd name="T60" fmla="*/ 13 w 75"/>
                    <a:gd name="T61" fmla="*/ 62 h 71"/>
                    <a:gd name="T62" fmla="*/ 12 w 75"/>
                    <a:gd name="T63" fmla="*/ 33 h 71"/>
                    <a:gd name="T64" fmla="*/ 28 w 75"/>
                    <a:gd name="T65" fmla="*/ 42 h 71"/>
                    <a:gd name="T66" fmla="*/ 68 w 75"/>
                    <a:gd name="T67" fmla="*/ 33 h 71"/>
                    <a:gd name="T68" fmla="*/ 64 w 75"/>
                    <a:gd name="T69" fmla="*/ 28 h 71"/>
                    <a:gd name="T70" fmla="*/ 68 w 75"/>
                    <a:gd name="T71" fmla="*/ 33 h 71"/>
                    <a:gd name="T72" fmla="*/ 11 w 75"/>
                    <a:gd name="T73" fmla="*/ 14 h 71"/>
                    <a:gd name="T74" fmla="*/ 11 w 75"/>
                    <a:gd name="T75" fmla="*/ 3 h 71"/>
                    <a:gd name="T76" fmla="*/ 67 w 75"/>
                    <a:gd name="T77" fmla="*/ 11 h 71"/>
                    <a:gd name="T78" fmla="*/ 11 w 75"/>
                    <a:gd name="T79" fmla="*/ 31 h 71"/>
                    <a:gd name="T80" fmla="*/ 3 w 75"/>
                    <a:gd name="T81" fmla="*/ 31 h 71"/>
                    <a:gd name="T82" fmla="*/ 4 w 75"/>
                    <a:gd name="T83" fmla="*/ 65 h 71"/>
                    <a:gd name="T84" fmla="*/ 29 w 75"/>
                    <a:gd name="T85" fmla="*/ 64 h 71"/>
                    <a:gd name="T86" fmla="*/ 71 w 75"/>
                    <a:gd name="T87" fmla="*/ 67 h 71"/>
                    <a:gd name="T88" fmla="*/ 4 w 75"/>
                    <a:gd name="T89" fmla="*/ 67 h 71"/>
                    <a:gd name="T90" fmla="*/ 62 w 75"/>
                    <a:gd name="T91" fmla="*/ 56 h 71"/>
                    <a:gd name="T92" fmla="*/ 39 w 75"/>
                    <a:gd name="T93" fmla="*/ 40 h 71"/>
                    <a:gd name="T94" fmla="*/ 39 w 75"/>
                    <a:gd name="T95" fmla="*/ 57 h 71"/>
                    <a:gd name="T96" fmla="*/ 60 w 75"/>
                    <a:gd name="T97" fmla="*/ 5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5" h="71">
                      <a:moveTo>
                        <a:pt x="75" y="31"/>
                      </a:moveTo>
                      <a:cubicBezTo>
                        <a:pt x="75" y="28"/>
                        <a:pt x="75" y="28"/>
                        <a:pt x="75" y="28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27"/>
                        <a:pt x="75" y="26"/>
                        <a:pt x="75" y="26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4"/>
                        <a:pt x="69" y="14"/>
                        <a:pt x="69" y="14"/>
                      </a:cubicBezTo>
                      <a:cubicBezTo>
                        <a:pt x="70" y="13"/>
                        <a:pt x="70" y="12"/>
                        <a:pt x="70" y="11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2"/>
                        <a:pt x="67" y="0"/>
                        <a:pt x="64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8" y="0"/>
                        <a:pt x="5" y="2"/>
                        <a:pt x="5" y="5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3"/>
                        <a:pt x="6" y="14"/>
                      </a:cubicBezTo>
                      <a:cubicBezTo>
                        <a:pt x="6" y="14"/>
                        <a:pt x="6" y="14"/>
                        <a:pt x="5" y="1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7"/>
                        <a:pt x="0" y="27"/>
                      </a:cubicBezTo>
                      <a:cubicBezTo>
                        <a:pt x="0" y="27"/>
                        <a:pt x="0" y="27"/>
                        <a:pt x="0" y="28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3"/>
                        <a:pt x="2" y="36"/>
                        <a:pt x="5" y="36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3" y="61"/>
                        <a:pt x="1" y="63"/>
                        <a:pt x="1" y="65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69"/>
                        <a:pt x="3" y="71"/>
                        <a:pt x="6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2" y="71"/>
                        <a:pt x="74" y="69"/>
                        <a:pt x="74" y="67"/>
                      </a:cubicBezTo>
                      <a:cubicBezTo>
                        <a:pt x="74" y="65"/>
                        <a:pt x="74" y="65"/>
                        <a:pt x="74" y="65"/>
                      </a:cubicBezTo>
                      <a:cubicBezTo>
                        <a:pt x="74" y="63"/>
                        <a:pt x="72" y="61"/>
                        <a:pt x="70" y="61"/>
                      </a:cubicBez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73" y="36"/>
                        <a:pt x="75" y="33"/>
                        <a:pt x="75" y="31"/>
                      </a:cubicBezTo>
                      <a:close/>
                      <a:moveTo>
                        <a:pt x="4" y="2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1" y="26"/>
                        <a:pt x="71" y="26"/>
                        <a:pt x="71" y="26"/>
                      </a:cubicBezTo>
                      <a:lnTo>
                        <a:pt x="4" y="26"/>
                      </a:lnTo>
                      <a:close/>
                      <a:moveTo>
                        <a:pt x="62" y="31"/>
                      </a:moveTo>
                      <a:cubicBezTo>
                        <a:pt x="62" y="32"/>
                        <a:pt x="60" y="33"/>
                        <a:pt x="58" y="33"/>
                      </a:cubicBezTo>
                      <a:cubicBezTo>
                        <a:pt x="57" y="33"/>
                        <a:pt x="57" y="33"/>
                        <a:pt x="57" y="33"/>
                      </a:cubicBezTo>
                      <a:cubicBezTo>
                        <a:pt x="55" y="33"/>
                        <a:pt x="54" y="32"/>
                        <a:pt x="54" y="31"/>
                      </a:cubicBezTo>
                      <a:cubicBezTo>
                        <a:pt x="54" y="28"/>
                        <a:pt x="54" y="28"/>
                        <a:pt x="54" y="28"/>
                      </a:cubicBezTo>
                      <a:cubicBezTo>
                        <a:pt x="62" y="28"/>
                        <a:pt x="62" y="28"/>
                        <a:pt x="62" y="28"/>
                      </a:cubicBezTo>
                      <a:lnTo>
                        <a:pt x="62" y="31"/>
                      </a:lnTo>
                      <a:close/>
                      <a:moveTo>
                        <a:pt x="52" y="31"/>
                      </a:moveTo>
                      <a:cubicBezTo>
                        <a:pt x="52" y="32"/>
                        <a:pt x="50" y="33"/>
                        <a:pt x="48" y="33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5" y="33"/>
                        <a:pt x="44" y="32"/>
                        <a:pt x="44" y="31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lnTo>
                        <a:pt x="52" y="31"/>
                      </a:lnTo>
                      <a:close/>
                      <a:moveTo>
                        <a:pt x="42" y="31"/>
                      </a:moveTo>
                      <a:cubicBezTo>
                        <a:pt x="42" y="32"/>
                        <a:pt x="40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4" y="32"/>
                        <a:pt x="34" y="31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lnTo>
                        <a:pt x="42" y="31"/>
                      </a:lnTo>
                      <a:close/>
                      <a:moveTo>
                        <a:pt x="32" y="31"/>
                      </a:move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5" y="33"/>
                        <a:pt x="23" y="32"/>
                        <a:pt x="23" y="31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lnTo>
                        <a:pt x="32" y="31"/>
                      </a:lnTo>
                      <a:close/>
                      <a:moveTo>
                        <a:pt x="21" y="28"/>
                      </a:move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1" y="32"/>
                        <a:pt x="20" y="33"/>
                        <a:pt x="18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5" y="33"/>
                        <a:pt x="13" y="32"/>
                        <a:pt x="13" y="31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lnTo>
                        <a:pt x="21" y="28"/>
                      </a:lnTo>
                      <a:close/>
                      <a:moveTo>
                        <a:pt x="12" y="33"/>
                      </a:moveTo>
                      <a:cubicBezTo>
                        <a:pt x="13" y="35"/>
                        <a:pt x="15" y="35"/>
                        <a:pt x="17" y="35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20" y="35"/>
                        <a:pt x="21" y="35"/>
                        <a:pt x="22" y="33"/>
                      </a:cubicBezTo>
                      <a:cubicBezTo>
                        <a:pt x="23" y="35"/>
                        <a:pt x="25" y="35"/>
                        <a:pt x="27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2" y="35"/>
                        <a:pt x="33" y="33"/>
                      </a:cubicBezTo>
                      <a:cubicBezTo>
                        <a:pt x="34" y="35"/>
                        <a:pt x="35" y="35"/>
                        <a:pt x="37" y="35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40" y="35"/>
                        <a:pt x="42" y="35"/>
                        <a:pt x="43" y="33"/>
                      </a:cubicBezTo>
                      <a:cubicBezTo>
                        <a:pt x="44" y="35"/>
                        <a:pt x="45" y="35"/>
                        <a:pt x="47" y="35"/>
                      </a:cubicBezTo>
                      <a:cubicBezTo>
                        <a:pt x="48" y="35"/>
                        <a:pt x="48" y="35"/>
                        <a:pt x="48" y="35"/>
                      </a:cubicBezTo>
                      <a:cubicBezTo>
                        <a:pt x="50" y="35"/>
                        <a:pt x="52" y="35"/>
                        <a:pt x="53" y="33"/>
                      </a:cubicBezTo>
                      <a:cubicBezTo>
                        <a:pt x="54" y="35"/>
                        <a:pt x="55" y="35"/>
                        <a:pt x="57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35"/>
                        <a:pt x="62" y="35"/>
                        <a:pt x="63" y="33"/>
                      </a:cubicBezTo>
                      <a:cubicBezTo>
                        <a:pt x="64" y="35"/>
                        <a:pt x="65" y="35"/>
                        <a:pt x="67" y="35"/>
                      </a:cubicBezTo>
                      <a:cubicBezTo>
                        <a:pt x="67" y="62"/>
                        <a:pt x="67" y="62"/>
                        <a:pt x="67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0"/>
                        <a:pt x="30" y="40"/>
                        <a:pt x="29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3" y="40"/>
                        <a:pt x="13" y="40"/>
                        <a:pt x="13" y="41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5"/>
                        <a:pt x="11" y="35"/>
                        <a:pt x="12" y="33"/>
                      </a:cubicBezTo>
                      <a:close/>
                      <a:moveTo>
                        <a:pt x="15" y="62"/>
                      </a:moveTo>
                      <a:cubicBezTo>
                        <a:pt x="15" y="42"/>
                        <a:pt x="15" y="42"/>
                        <a:pt x="15" y="42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lnTo>
                        <a:pt x="15" y="62"/>
                      </a:lnTo>
                      <a:close/>
                      <a:moveTo>
                        <a:pt x="68" y="33"/>
                      </a:moveTo>
                      <a:cubicBezTo>
                        <a:pt x="67" y="33"/>
                        <a:pt x="67" y="33"/>
                        <a:pt x="67" y="33"/>
                      </a:cubicBezTo>
                      <a:cubicBezTo>
                        <a:pt x="65" y="33"/>
                        <a:pt x="64" y="32"/>
                        <a:pt x="64" y="31"/>
                      </a:cubicBezTo>
                      <a:cubicBezTo>
                        <a:pt x="64" y="28"/>
                        <a:pt x="64" y="28"/>
                        <a:pt x="64" y="28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72" y="32"/>
                        <a:pt x="70" y="33"/>
                        <a:pt x="68" y="33"/>
                      </a:cubicBezTo>
                      <a:close/>
                      <a:moveTo>
                        <a:pt x="67" y="11"/>
                      </a:moveTo>
                      <a:cubicBezTo>
                        <a:pt x="67" y="13"/>
                        <a:pt x="66" y="14"/>
                        <a:pt x="64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9" y="14"/>
                        <a:pt x="8" y="13"/>
                        <a:pt x="8" y="11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9" y="3"/>
                        <a:pt x="11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6" y="3"/>
                        <a:pt x="67" y="4"/>
                        <a:pt x="67" y="5"/>
                      </a:cubicBezTo>
                      <a:lnTo>
                        <a:pt x="67" y="11"/>
                      </a:lnTo>
                      <a:close/>
                      <a:moveTo>
                        <a:pt x="3" y="28"/>
                      </a:moveTo>
                      <a:cubicBezTo>
                        <a:pt x="11" y="28"/>
                        <a:pt x="11" y="28"/>
                        <a:pt x="11" y="28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1" y="32"/>
                        <a:pt x="10" y="33"/>
                        <a:pt x="8" y="33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3"/>
                        <a:pt x="3" y="32"/>
                        <a:pt x="3" y="31"/>
                      </a:cubicBezTo>
                      <a:lnTo>
                        <a:pt x="3" y="28"/>
                      </a:lnTo>
                      <a:close/>
                      <a:moveTo>
                        <a:pt x="4" y="67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5"/>
                        <a:pt x="5" y="64"/>
                        <a:pt x="6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70" y="64"/>
                        <a:pt x="70" y="64"/>
                        <a:pt x="70" y="64"/>
                      </a:cubicBezTo>
                      <a:cubicBezTo>
                        <a:pt x="70" y="64"/>
                        <a:pt x="71" y="65"/>
                        <a:pt x="71" y="65"/>
                      </a:cubicBezTo>
                      <a:cubicBezTo>
                        <a:pt x="71" y="67"/>
                        <a:pt x="71" y="67"/>
                        <a:pt x="71" y="67"/>
                      </a:cubicBezTo>
                      <a:cubicBezTo>
                        <a:pt x="71" y="68"/>
                        <a:pt x="70" y="68"/>
                        <a:pt x="70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5" y="68"/>
                        <a:pt x="4" y="68"/>
                        <a:pt x="4" y="67"/>
                      </a:cubicBezTo>
                      <a:close/>
                      <a:moveTo>
                        <a:pt x="39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62" y="57"/>
                        <a:pt x="62" y="56"/>
                        <a:pt x="62" y="56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ubicBezTo>
                        <a:pt x="62" y="40"/>
                        <a:pt x="62" y="40"/>
                        <a:pt x="61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8" y="40"/>
                        <a:pt x="38" y="40"/>
                        <a:pt x="38" y="41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38" y="56"/>
                        <a:pt x="38" y="57"/>
                        <a:pt x="39" y="57"/>
                      </a:cubicBezTo>
                      <a:close/>
                      <a:moveTo>
                        <a:pt x="40" y="42"/>
                      </a:moveTo>
                      <a:cubicBezTo>
                        <a:pt x="60" y="42"/>
                        <a:pt x="60" y="42"/>
                        <a:pt x="60" y="42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lnTo>
                        <a:pt x="40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6" name="Freeform 17">
                  <a:extLst>
                    <a:ext uri="{FF2B5EF4-FFF2-40B4-BE49-F238E27FC236}">
                      <a16:creationId xmlns:a16="http://schemas.microsoft.com/office/drawing/2014/main" id="{E2797CB7-4F3E-4F21-A565-6985E981B27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38493" y="4190759"/>
                  <a:ext cx="395516" cy="335025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7" name="Freeform 32">
                  <a:extLst>
                    <a:ext uri="{FF2B5EF4-FFF2-40B4-BE49-F238E27FC236}">
                      <a16:creationId xmlns:a16="http://schemas.microsoft.com/office/drawing/2014/main" id="{57C29099-CF21-48EE-AB44-D501320E300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709719" y="3927654"/>
                  <a:ext cx="267607" cy="298800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8" name="Freeform 60">
                  <a:extLst>
                    <a:ext uri="{FF2B5EF4-FFF2-40B4-BE49-F238E27FC236}">
                      <a16:creationId xmlns:a16="http://schemas.microsoft.com/office/drawing/2014/main" id="{D8C9831C-0AAB-4447-8F22-5E87DC5F114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07514" y="1797752"/>
                  <a:ext cx="299924" cy="195603"/>
                </a:xfrm>
                <a:custGeom>
                  <a:avLst/>
                  <a:gdLst>
                    <a:gd name="T0" fmla="*/ 28 w 77"/>
                    <a:gd name="T1" fmla="*/ 2 h 48"/>
                    <a:gd name="T2" fmla="*/ 10 w 77"/>
                    <a:gd name="T3" fmla="*/ 9 h 48"/>
                    <a:gd name="T4" fmla="*/ 0 w 77"/>
                    <a:gd name="T5" fmla="*/ 34 h 48"/>
                    <a:gd name="T6" fmla="*/ 9 w 77"/>
                    <a:gd name="T7" fmla="*/ 42 h 48"/>
                    <a:gd name="T8" fmla="*/ 10 w 77"/>
                    <a:gd name="T9" fmla="*/ 44 h 48"/>
                    <a:gd name="T10" fmla="*/ 11 w 77"/>
                    <a:gd name="T11" fmla="*/ 46 h 48"/>
                    <a:gd name="T12" fmla="*/ 13 w 77"/>
                    <a:gd name="T13" fmla="*/ 47 h 48"/>
                    <a:gd name="T14" fmla="*/ 15 w 77"/>
                    <a:gd name="T15" fmla="*/ 48 h 48"/>
                    <a:gd name="T16" fmla="*/ 19 w 77"/>
                    <a:gd name="T17" fmla="*/ 48 h 48"/>
                    <a:gd name="T18" fmla="*/ 21 w 77"/>
                    <a:gd name="T19" fmla="*/ 47 h 48"/>
                    <a:gd name="T20" fmla="*/ 23 w 77"/>
                    <a:gd name="T21" fmla="*/ 46 h 48"/>
                    <a:gd name="T22" fmla="*/ 25 w 77"/>
                    <a:gd name="T23" fmla="*/ 43 h 48"/>
                    <a:gd name="T24" fmla="*/ 49 w 77"/>
                    <a:gd name="T25" fmla="*/ 42 h 48"/>
                    <a:gd name="T26" fmla="*/ 50 w 77"/>
                    <a:gd name="T27" fmla="*/ 44 h 48"/>
                    <a:gd name="T28" fmla="*/ 52 w 77"/>
                    <a:gd name="T29" fmla="*/ 46 h 48"/>
                    <a:gd name="T30" fmla="*/ 54 w 77"/>
                    <a:gd name="T31" fmla="*/ 47 h 48"/>
                    <a:gd name="T32" fmla="*/ 56 w 77"/>
                    <a:gd name="T33" fmla="*/ 48 h 48"/>
                    <a:gd name="T34" fmla="*/ 60 w 77"/>
                    <a:gd name="T35" fmla="*/ 48 h 48"/>
                    <a:gd name="T36" fmla="*/ 62 w 77"/>
                    <a:gd name="T37" fmla="*/ 47 h 48"/>
                    <a:gd name="T38" fmla="*/ 64 w 77"/>
                    <a:gd name="T39" fmla="*/ 46 h 48"/>
                    <a:gd name="T40" fmla="*/ 65 w 77"/>
                    <a:gd name="T41" fmla="*/ 43 h 48"/>
                    <a:gd name="T42" fmla="*/ 75 w 77"/>
                    <a:gd name="T43" fmla="*/ 42 h 48"/>
                    <a:gd name="T44" fmla="*/ 77 w 77"/>
                    <a:gd name="T45" fmla="*/ 2 h 48"/>
                    <a:gd name="T46" fmla="*/ 3 w 77"/>
                    <a:gd name="T47" fmla="*/ 39 h 48"/>
                    <a:gd name="T48" fmla="*/ 10 w 77"/>
                    <a:gd name="T49" fmla="*/ 35 h 48"/>
                    <a:gd name="T50" fmla="*/ 21 w 77"/>
                    <a:gd name="T51" fmla="*/ 42 h 48"/>
                    <a:gd name="T52" fmla="*/ 19 w 77"/>
                    <a:gd name="T53" fmla="*/ 43 h 48"/>
                    <a:gd name="T54" fmla="*/ 15 w 77"/>
                    <a:gd name="T55" fmla="*/ 44 h 48"/>
                    <a:gd name="T56" fmla="*/ 13 w 77"/>
                    <a:gd name="T57" fmla="*/ 42 h 48"/>
                    <a:gd name="T58" fmla="*/ 12 w 77"/>
                    <a:gd name="T59" fmla="*/ 40 h 48"/>
                    <a:gd name="T60" fmla="*/ 14 w 77"/>
                    <a:gd name="T61" fmla="*/ 36 h 48"/>
                    <a:gd name="T62" fmla="*/ 17 w 77"/>
                    <a:gd name="T63" fmla="*/ 35 h 48"/>
                    <a:gd name="T64" fmla="*/ 20 w 77"/>
                    <a:gd name="T65" fmla="*/ 36 h 48"/>
                    <a:gd name="T66" fmla="*/ 21 w 77"/>
                    <a:gd name="T67" fmla="*/ 40 h 48"/>
                    <a:gd name="T68" fmla="*/ 17 w 77"/>
                    <a:gd name="T69" fmla="*/ 31 h 48"/>
                    <a:gd name="T70" fmla="*/ 3 w 77"/>
                    <a:gd name="T71" fmla="*/ 32 h 48"/>
                    <a:gd name="T72" fmla="*/ 11 w 77"/>
                    <a:gd name="T73" fmla="*/ 12 h 48"/>
                    <a:gd name="T74" fmla="*/ 29 w 77"/>
                    <a:gd name="T75" fmla="*/ 12 h 48"/>
                    <a:gd name="T76" fmla="*/ 22 w 77"/>
                    <a:gd name="T77" fmla="*/ 33 h 48"/>
                    <a:gd name="T78" fmla="*/ 24 w 77"/>
                    <a:gd name="T79" fmla="*/ 35 h 48"/>
                    <a:gd name="T80" fmla="*/ 50 w 77"/>
                    <a:gd name="T81" fmla="*/ 35 h 48"/>
                    <a:gd name="T82" fmla="*/ 61 w 77"/>
                    <a:gd name="T83" fmla="*/ 42 h 48"/>
                    <a:gd name="T84" fmla="*/ 60 w 77"/>
                    <a:gd name="T85" fmla="*/ 43 h 48"/>
                    <a:gd name="T86" fmla="*/ 56 w 77"/>
                    <a:gd name="T87" fmla="*/ 44 h 48"/>
                    <a:gd name="T88" fmla="*/ 54 w 77"/>
                    <a:gd name="T89" fmla="*/ 42 h 48"/>
                    <a:gd name="T90" fmla="*/ 53 w 77"/>
                    <a:gd name="T91" fmla="*/ 40 h 48"/>
                    <a:gd name="T92" fmla="*/ 55 w 77"/>
                    <a:gd name="T93" fmla="*/ 36 h 48"/>
                    <a:gd name="T94" fmla="*/ 58 w 77"/>
                    <a:gd name="T95" fmla="*/ 35 h 48"/>
                    <a:gd name="T96" fmla="*/ 60 w 77"/>
                    <a:gd name="T97" fmla="*/ 36 h 48"/>
                    <a:gd name="T98" fmla="*/ 62 w 77"/>
                    <a:gd name="T99" fmla="*/ 40 h 48"/>
                    <a:gd name="T100" fmla="*/ 66 w 77"/>
                    <a:gd name="T101" fmla="*/ 39 h 48"/>
                    <a:gd name="T102" fmla="*/ 74 w 77"/>
                    <a:gd name="T103" fmla="*/ 39 h 48"/>
                    <a:gd name="T104" fmla="*/ 12 w 77"/>
                    <a:gd name="T105" fmla="*/ 14 h 48"/>
                    <a:gd name="T106" fmla="*/ 7 w 77"/>
                    <a:gd name="T107" fmla="*/ 25 h 48"/>
                    <a:gd name="T108" fmla="*/ 27 w 77"/>
                    <a:gd name="T109" fmla="*/ 14 h 48"/>
                    <a:gd name="T110" fmla="*/ 8 w 77"/>
                    <a:gd name="T111" fmla="*/ 23 h 48"/>
                    <a:gd name="T112" fmla="*/ 25 w 77"/>
                    <a:gd name="T113" fmla="*/ 23 h 48"/>
                    <a:gd name="T114" fmla="*/ 14 w 77"/>
                    <a:gd name="T115" fmla="*/ 29 h 48"/>
                    <a:gd name="T116" fmla="*/ 17 w 77"/>
                    <a:gd name="T117" fmla="*/ 2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7" h="48">
                      <a:moveTo>
                        <a:pt x="75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9" y="0"/>
                        <a:pt x="28" y="1"/>
                        <a:pt x="28" y="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0" y="8"/>
                        <a:pt x="10" y="9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2"/>
                        <a:pt x="0" y="22"/>
                        <a:pt x="0" y="23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1"/>
                        <a:pt x="1" y="42"/>
                        <a:pt x="2" y="42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5"/>
                        <a:pt x="10" y="45"/>
                        <a:pt x="10" y="45"/>
                      </a:cubicBezTo>
                      <a:cubicBezTo>
                        <a:pt x="10" y="45"/>
                        <a:pt x="11" y="45"/>
                        <a:pt x="11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1" y="46"/>
                        <a:pt x="12" y="46"/>
                        <a:pt x="12" y="47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8"/>
                        <a:pt x="14" y="48"/>
                        <a:pt x="14" y="48"/>
                      </a:cubicBezTo>
                      <a:cubicBezTo>
                        <a:pt x="14" y="48"/>
                        <a:pt x="14" y="48"/>
                        <a:pt x="15" y="48"/>
                      </a:cubicBezTo>
                      <a:cubicBezTo>
                        <a:pt x="15" y="48"/>
                        <a:pt x="15" y="48"/>
                        <a:pt x="15" y="48"/>
                      </a:cubicBezTo>
                      <a:cubicBezTo>
                        <a:pt x="16" y="48"/>
                        <a:pt x="16" y="48"/>
                        <a:pt x="17" y="48"/>
                      </a:cubicBezTo>
                      <a:cubicBezTo>
                        <a:pt x="17" y="48"/>
                        <a:pt x="18" y="48"/>
                        <a:pt x="19" y="48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20" y="48"/>
                        <a:pt x="20" y="48"/>
                      </a:cubicBezTo>
                      <a:cubicBezTo>
                        <a:pt x="20" y="48"/>
                        <a:pt x="20" y="48"/>
                        <a:pt x="21" y="4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2" y="46"/>
                        <a:pt x="22" y="46"/>
                        <a:pt x="23" y="46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ubicBezTo>
                        <a:pt x="24" y="45"/>
                        <a:pt x="24" y="45"/>
                        <a:pt x="24" y="44"/>
                      </a:cubicBezTo>
                      <a:cubicBezTo>
                        <a:pt x="24" y="44"/>
                        <a:pt x="25" y="44"/>
                        <a:pt x="25" y="43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5" y="43"/>
                        <a:pt x="25" y="42"/>
                        <a:pt x="25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42"/>
                        <a:pt x="49" y="43"/>
                        <a:pt x="50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51" y="45"/>
                        <a:pt x="51" y="45"/>
                        <a:pt x="51" y="45"/>
                      </a:cubicBezTo>
                      <a:cubicBezTo>
                        <a:pt x="51" y="45"/>
                        <a:pt x="51" y="45"/>
                        <a:pt x="51" y="46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2" y="46"/>
                        <a:pt x="52" y="46"/>
                        <a:pt x="53" y="47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47"/>
                        <a:pt x="54" y="47"/>
                        <a:pt x="54" y="47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6" y="48"/>
                        <a:pt x="57" y="48"/>
                        <a:pt x="58" y="48"/>
                      </a:cubicBezTo>
                      <a:cubicBezTo>
                        <a:pt x="58" y="48"/>
                        <a:pt x="59" y="48"/>
                        <a:pt x="59" y="48"/>
                      </a:cubicBezTo>
                      <a:cubicBezTo>
                        <a:pt x="59" y="48"/>
                        <a:pt x="59" y="48"/>
                        <a:pt x="60" y="48"/>
                      </a:cubicBezTo>
                      <a:cubicBezTo>
                        <a:pt x="60" y="48"/>
                        <a:pt x="60" y="48"/>
                        <a:pt x="61" y="48"/>
                      </a:cubicBezTo>
                      <a:cubicBezTo>
                        <a:pt x="61" y="48"/>
                        <a:pt x="61" y="48"/>
                        <a:pt x="61" y="47"/>
                      </a:cubicBezTo>
                      <a:cubicBezTo>
                        <a:pt x="61" y="47"/>
                        <a:pt x="62" y="47"/>
                        <a:pt x="62" y="47"/>
                      </a:cubicBezTo>
                      <a:cubicBezTo>
                        <a:pt x="62" y="47"/>
                        <a:pt x="62" y="47"/>
                        <a:pt x="63" y="47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6"/>
                        <a:pt x="64" y="46"/>
                        <a:pt x="64" y="46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5"/>
                        <a:pt x="65" y="45"/>
                        <a:pt x="65" y="44"/>
                      </a:cubicBezTo>
                      <a:cubicBezTo>
                        <a:pt x="65" y="44"/>
                        <a:pt x="65" y="44"/>
                        <a:pt x="65" y="43"/>
                      </a:cubicBezTo>
                      <a:cubicBezTo>
                        <a:pt x="65" y="43"/>
                        <a:pt x="65" y="43"/>
                        <a:pt x="65" y="43"/>
                      </a:cubicBezTo>
                      <a:cubicBezTo>
                        <a:pt x="66" y="43"/>
                        <a:pt x="66" y="42"/>
                        <a:pt x="66" y="42"/>
                      </a:cubicBezTo>
                      <a:cubicBezTo>
                        <a:pt x="75" y="42"/>
                        <a:pt x="75" y="42"/>
                        <a:pt x="75" y="42"/>
                      </a:cubicBezTo>
                      <a:cubicBezTo>
                        <a:pt x="76" y="42"/>
                        <a:pt x="77" y="41"/>
                        <a:pt x="77" y="40"/>
                      </a:cubicBezTo>
                      <a:cubicBezTo>
                        <a:pt x="77" y="34"/>
                        <a:pt x="77" y="34"/>
                        <a:pt x="77" y="34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7" y="1"/>
                        <a:pt x="76" y="0"/>
                        <a:pt x="75" y="0"/>
                      </a:cubicBezTo>
                      <a:close/>
                      <a:moveTo>
                        <a:pt x="8" y="39"/>
                      </a:move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9" y="36"/>
                        <a:pt x="9" y="37"/>
                        <a:pt x="8" y="39"/>
                      </a:cubicBezTo>
                      <a:close/>
                      <a:moveTo>
                        <a:pt x="21" y="41"/>
                      </a:moveTo>
                      <a:cubicBezTo>
                        <a:pt x="21" y="41"/>
                        <a:pt x="21" y="42"/>
                        <a:pt x="21" y="42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3"/>
                        <a:pt x="19" y="43"/>
                        <a:pt x="19" y="43"/>
                      </a:cubicBezTo>
                      <a:cubicBezTo>
                        <a:pt x="19" y="44"/>
                        <a:pt x="19" y="44"/>
                        <a:pt x="19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6" y="44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4" y="43"/>
                        <a:pt x="14" y="43"/>
                        <a:pt x="14" y="43"/>
                      </a:cubicBezTo>
                      <a:cubicBezTo>
                        <a:pt x="14" y="43"/>
                        <a:pt x="13" y="43"/>
                        <a:pt x="13" y="42"/>
                      </a:cubicBezTo>
                      <a:cubicBezTo>
                        <a:pt x="13" y="42"/>
                        <a:pt x="13" y="42"/>
                        <a:pt x="13" y="42"/>
                      </a:cubicBezTo>
                      <a:cubicBezTo>
                        <a:pt x="13" y="42"/>
                        <a:pt x="13" y="41"/>
                        <a:pt x="13" y="41"/>
                      </a:cubicBezTo>
                      <a:cubicBezTo>
                        <a:pt x="13" y="40"/>
                        <a:pt x="12" y="40"/>
                        <a:pt x="12" y="40"/>
                      </a:cubicBezTo>
                      <a:cubicBezTo>
                        <a:pt x="12" y="39"/>
                        <a:pt x="13" y="38"/>
                        <a:pt x="13" y="37"/>
                      </a:cubicBezTo>
                      <a:cubicBezTo>
                        <a:pt x="13" y="37"/>
                        <a:pt x="13" y="37"/>
                        <a:pt x="13" y="37"/>
                      </a:cubicBezTo>
                      <a:cubicBezTo>
                        <a:pt x="13" y="37"/>
                        <a:pt x="14" y="37"/>
                        <a:pt x="14" y="36"/>
                      </a:cubicBezTo>
                      <a:cubicBezTo>
                        <a:pt x="14" y="36"/>
                        <a:pt x="14" y="36"/>
                        <a:pt x="15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6" y="35"/>
                        <a:pt x="16" y="35"/>
                        <a:pt x="17" y="35"/>
                      </a:cubicBezTo>
                      <a:cubicBezTo>
                        <a:pt x="17" y="35"/>
                        <a:pt x="18" y="35"/>
                        <a:pt x="19" y="36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19" y="36"/>
                        <a:pt x="20" y="36"/>
                        <a:pt x="20" y="36"/>
                      </a:cubicBezTo>
                      <a:cubicBezTo>
                        <a:pt x="20" y="37"/>
                        <a:pt x="20" y="37"/>
                        <a:pt x="21" y="37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1" y="38"/>
                        <a:pt x="21" y="39"/>
                        <a:pt x="21" y="40"/>
                      </a:cubicBezTo>
                      <a:cubicBezTo>
                        <a:pt x="21" y="40"/>
                        <a:pt x="21" y="40"/>
                        <a:pt x="21" y="41"/>
                      </a:cubicBezTo>
                      <a:close/>
                      <a:moveTo>
                        <a:pt x="22" y="33"/>
                      </a:moveTo>
                      <a:cubicBezTo>
                        <a:pt x="21" y="32"/>
                        <a:pt x="19" y="31"/>
                        <a:pt x="17" y="31"/>
                      </a:cubicBezTo>
                      <a:cubicBezTo>
                        <a:pt x="15" y="31"/>
                        <a:pt x="13" y="32"/>
                        <a:pt x="12" y="33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3" y="33"/>
                        <a:pt x="3" y="33"/>
                        <a:pt x="3" y="32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4"/>
                        <a:pt x="3" y="23"/>
                        <a:pt x="4" y="22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2" y="11"/>
                        <a:pt x="13" y="11"/>
                        <a:pt x="13" y="11"/>
                      </a:cubicBezTo>
                      <a:cubicBezTo>
                        <a:pt x="28" y="11"/>
                        <a:pt x="28" y="11"/>
                        <a:pt x="28" y="11"/>
                      </a:cubicBezTo>
                      <a:cubicBezTo>
                        <a:pt x="28" y="11"/>
                        <a:pt x="29" y="11"/>
                        <a:pt x="29" y="1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9" y="33"/>
                        <a:pt x="28" y="33"/>
                        <a:pt x="28" y="33"/>
                      </a:cubicBezTo>
                      <a:lnTo>
                        <a:pt x="22" y="33"/>
                      </a:lnTo>
                      <a:close/>
                      <a:moveTo>
                        <a:pt x="49" y="39"/>
                      </a:move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5" y="37"/>
                        <a:pt x="25" y="36"/>
                        <a:pt x="24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6"/>
                        <a:pt x="49" y="37"/>
                        <a:pt x="49" y="39"/>
                      </a:cubicBezTo>
                      <a:close/>
                      <a:moveTo>
                        <a:pt x="62" y="41"/>
                      </a:moveTo>
                      <a:cubicBezTo>
                        <a:pt x="62" y="41"/>
                        <a:pt x="62" y="42"/>
                        <a:pt x="61" y="42"/>
                      </a:cubicBezTo>
                      <a:cubicBezTo>
                        <a:pt x="61" y="42"/>
                        <a:pt x="61" y="42"/>
                        <a:pt x="61" y="42"/>
                      </a:cubicBezTo>
                      <a:cubicBezTo>
                        <a:pt x="61" y="43"/>
                        <a:pt x="61" y="43"/>
                        <a:pt x="60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60" y="44"/>
                        <a:pt x="59" y="44"/>
                        <a:pt x="59" y="44"/>
                      </a:cubicBezTo>
                      <a:cubicBezTo>
                        <a:pt x="59" y="44"/>
                        <a:pt x="58" y="44"/>
                        <a:pt x="58" y="44"/>
                      </a:cubicBezTo>
                      <a:cubicBezTo>
                        <a:pt x="57" y="44"/>
                        <a:pt x="56" y="44"/>
                        <a:pt x="56" y="44"/>
                      </a:cubicBezTo>
                      <a:cubicBezTo>
                        <a:pt x="56" y="44"/>
                        <a:pt x="55" y="44"/>
                        <a:pt x="55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4" y="43"/>
                        <a:pt x="54" y="43"/>
                        <a:pt x="54" y="42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4" y="42"/>
                        <a:pt x="53" y="41"/>
                        <a:pt x="53" y="41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3" y="39"/>
                        <a:pt x="53" y="38"/>
                        <a:pt x="54" y="37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cubicBezTo>
                        <a:pt x="54" y="37"/>
                        <a:pt x="54" y="37"/>
                        <a:pt x="55" y="36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6"/>
                        <a:pt x="56" y="36"/>
                        <a:pt x="56" y="36"/>
                      </a:cubicBezTo>
                      <a:cubicBezTo>
                        <a:pt x="56" y="35"/>
                        <a:pt x="57" y="35"/>
                        <a:pt x="58" y="35"/>
                      </a:cubicBezTo>
                      <a:cubicBezTo>
                        <a:pt x="58" y="35"/>
                        <a:pt x="59" y="35"/>
                        <a:pt x="59" y="36"/>
                      </a:cubicBezTo>
                      <a:cubicBezTo>
                        <a:pt x="59" y="36"/>
                        <a:pt x="60" y="36"/>
                        <a:pt x="60" y="36"/>
                      </a:cubicBezTo>
                      <a:cubicBezTo>
                        <a:pt x="60" y="36"/>
                        <a:pt x="60" y="36"/>
                        <a:pt x="60" y="36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2" y="38"/>
                        <a:pt x="62" y="39"/>
                        <a:pt x="62" y="40"/>
                      </a:cubicBezTo>
                      <a:cubicBezTo>
                        <a:pt x="62" y="40"/>
                        <a:pt x="62" y="40"/>
                        <a:pt x="62" y="41"/>
                      </a:cubicBezTo>
                      <a:close/>
                      <a:moveTo>
                        <a:pt x="74" y="39"/>
                      </a:move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7"/>
                        <a:pt x="65" y="36"/>
                        <a:pt x="65" y="35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lnTo>
                        <a:pt x="74" y="39"/>
                      </a:lnTo>
                      <a:close/>
                      <a:moveTo>
                        <a:pt x="26" y="13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2" y="13"/>
                        <a:pt x="12" y="14"/>
                        <a:pt x="12" y="14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6" y="25"/>
                        <a:pt x="6" y="25"/>
                        <a:pt x="7" y="25"/>
                      </a:cubicBezTo>
                      <a:cubicBezTo>
                        <a:pt x="26" y="25"/>
                        <a:pt x="26" y="25"/>
                        <a:pt x="26" y="25"/>
                      </a:cubicBezTo>
                      <a:cubicBezTo>
                        <a:pt x="26" y="25"/>
                        <a:pt x="27" y="25"/>
                        <a:pt x="27" y="24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7" y="14"/>
                        <a:pt x="26" y="13"/>
                        <a:pt x="26" y="13"/>
                      </a:cubicBezTo>
                      <a:close/>
                      <a:moveTo>
                        <a:pt x="25" y="23"/>
                      </a:moveTo>
                      <a:cubicBezTo>
                        <a:pt x="8" y="23"/>
                        <a:pt x="8" y="23"/>
                        <a:pt x="8" y="23"/>
                      </a:cubicBezTo>
                      <a:cubicBezTo>
                        <a:pt x="13" y="15"/>
                        <a:pt x="13" y="15"/>
                        <a:pt x="13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lnTo>
                        <a:pt x="25" y="23"/>
                      </a:lnTo>
                      <a:close/>
                      <a:moveTo>
                        <a:pt x="18" y="28"/>
                      </a:moveTo>
                      <a:cubicBezTo>
                        <a:pt x="18" y="28"/>
                        <a:pt x="18" y="29"/>
                        <a:pt x="17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3" y="29"/>
                        <a:pt x="13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18" y="27"/>
                        <a:pt x="18" y="27"/>
                        <a:pt x="1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9" name="Freeform 60">
                  <a:extLst>
                    <a:ext uri="{FF2B5EF4-FFF2-40B4-BE49-F238E27FC236}">
                      <a16:creationId xmlns:a16="http://schemas.microsoft.com/office/drawing/2014/main" id="{3E4229EF-D87F-494B-8DBA-B63E0FC7F83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68030" y="4983937"/>
                  <a:ext cx="299924" cy="195603"/>
                </a:xfrm>
                <a:custGeom>
                  <a:avLst/>
                  <a:gdLst>
                    <a:gd name="T0" fmla="*/ 28 w 77"/>
                    <a:gd name="T1" fmla="*/ 2 h 48"/>
                    <a:gd name="T2" fmla="*/ 10 w 77"/>
                    <a:gd name="T3" fmla="*/ 9 h 48"/>
                    <a:gd name="T4" fmla="*/ 0 w 77"/>
                    <a:gd name="T5" fmla="*/ 34 h 48"/>
                    <a:gd name="T6" fmla="*/ 9 w 77"/>
                    <a:gd name="T7" fmla="*/ 42 h 48"/>
                    <a:gd name="T8" fmla="*/ 10 w 77"/>
                    <a:gd name="T9" fmla="*/ 44 h 48"/>
                    <a:gd name="T10" fmla="*/ 11 w 77"/>
                    <a:gd name="T11" fmla="*/ 46 h 48"/>
                    <a:gd name="T12" fmla="*/ 13 w 77"/>
                    <a:gd name="T13" fmla="*/ 47 h 48"/>
                    <a:gd name="T14" fmla="*/ 15 w 77"/>
                    <a:gd name="T15" fmla="*/ 48 h 48"/>
                    <a:gd name="T16" fmla="*/ 19 w 77"/>
                    <a:gd name="T17" fmla="*/ 48 h 48"/>
                    <a:gd name="T18" fmla="*/ 21 w 77"/>
                    <a:gd name="T19" fmla="*/ 47 h 48"/>
                    <a:gd name="T20" fmla="*/ 23 w 77"/>
                    <a:gd name="T21" fmla="*/ 46 h 48"/>
                    <a:gd name="T22" fmla="*/ 25 w 77"/>
                    <a:gd name="T23" fmla="*/ 43 h 48"/>
                    <a:gd name="T24" fmla="*/ 49 w 77"/>
                    <a:gd name="T25" fmla="*/ 42 h 48"/>
                    <a:gd name="T26" fmla="*/ 50 w 77"/>
                    <a:gd name="T27" fmla="*/ 44 h 48"/>
                    <a:gd name="T28" fmla="*/ 52 w 77"/>
                    <a:gd name="T29" fmla="*/ 46 h 48"/>
                    <a:gd name="T30" fmla="*/ 54 w 77"/>
                    <a:gd name="T31" fmla="*/ 47 h 48"/>
                    <a:gd name="T32" fmla="*/ 56 w 77"/>
                    <a:gd name="T33" fmla="*/ 48 h 48"/>
                    <a:gd name="T34" fmla="*/ 60 w 77"/>
                    <a:gd name="T35" fmla="*/ 48 h 48"/>
                    <a:gd name="T36" fmla="*/ 62 w 77"/>
                    <a:gd name="T37" fmla="*/ 47 h 48"/>
                    <a:gd name="T38" fmla="*/ 64 w 77"/>
                    <a:gd name="T39" fmla="*/ 46 h 48"/>
                    <a:gd name="T40" fmla="*/ 65 w 77"/>
                    <a:gd name="T41" fmla="*/ 43 h 48"/>
                    <a:gd name="T42" fmla="*/ 75 w 77"/>
                    <a:gd name="T43" fmla="*/ 42 h 48"/>
                    <a:gd name="T44" fmla="*/ 77 w 77"/>
                    <a:gd name="T45" fmla="*/ 2 h 48"/>
                    <a:gd name="T46" fmla="*/ 3 w 77"/>
                    <a:gd name="T47" fmla="*/ 39 h 48"/>
                    <a:gd name="T48" fmla="*/ 10 w 77"/>
                    <a:gd name="T49" fmla="*/ 35 h 48"/>
                    <a:gd name="T50" fmla="*/ 21 w 77"/>
                    <a:gd name="T51" fmla="*/ 42 h 48"/>
                    <a:gd name="T52" fmla="*/ 19 w 77"/>
                    <a:gd name="T53" fmla="*/ 43 h 48"/>
                    <a:gd name="T54" fmla="*/ 15 w 77"/>
                    <a:gd name="T55" fmla="*/ 44 h 48"/>
                    <a:gd name="T56" fmla="*/ 13 w 77"/>
                    <a:gd name="T57" fmla="*/ 42 h 48"/>
                    <a:gd name="T58" fmla="*/ 12 w 77"/>
                    <a:gd name="T59" fmla="*/ 40 h 48"/>
                    <a:gd name="T60" fmla="*/ 14 w 77"/>
                    <a:gd name="T61" fmla="*/ 36 h 48"/>
                    <a:gd name="T62" fmla="*/ 17 w 77"/>
                    <a:gd name="T63" fmla="*/ 35 h 48"/>
                    <a:gd name="T64" fmla="*/ 20 w 77"/>
                    <a:gd name="T65" fmla="*/ 36 h 48"/>
                    <a:gd name="T66" fmla="*/ 21 w 77"/>
                    <a:gd name="T67" fmla="*/ 40 h 48"/>
                    <a:gd name="T68" fmla="*/ 17 w 77"/>
                    <a:gd name="T69" fmla="*/ 31 h 48"/>
                    <a:gd name="T70" fmla="*/ 3 w 77"/>
                    <a:gd name="T71" fmla="*/ 32 h 48"/>
                    <a:gd name="T72" fmla="*/ 11 w 77"/>
                    <a:gd name="T73" fmla="*/ 12 h 48"/>
                    <a:gd name="T74" fmla="*/ 29 w 77"/>
                    <a:gd name="T75" fmla="*/ 12 h 48"/>
                    <a:gd name="T76" fmla="*/ 22 w 77"/>
                    <a:gd name="T77" fmla="*/ 33 h 48"/>
                    <a:gd name="T78" fmla="*/ 24 w 77"/>
                    <a:gd name="T79" fmla="*/ 35 h 48"/>
                    <a:gd name="T80" fmla="*/ 50 w 77"/>
                    <a:gd name="T81" fmla="*/ 35 h 48"/>
                    <a:gd name="T82" fmla="*/ 61 w 77"/>
                    <a:gd name="T83" fmla="*/ 42 h 48"/>
                    <a:gd name="T84" fmla="*/ 60 w 77"/>
                    <a:gd name="T85" fmla="*/ 43 h 48"/>
                    <a:gd name="T86" fmla="*/ 56 w 77"/>
                    <a:gd name="T87" fmla="*/ 44 h 48"/>
                    <a:gd name="T88" fmla="*/ 54 w 77"/>
                    <a:gd name="T89" fmla="*/ 42 h 48"/>
                    <a:gd name="T90" fmla="*/ 53 w 77"/>
                    <a:gd name="T91" fmla="*/ 40 h 48"/>
                    <a:gd name="T92" fmla="*/ 55 w 77"/>
                    <a:gd name="T93" fmla="*/ 36 h 48"/>
                    <a:gd name="T94" fmla="*/ 58 w 77"/>
                    <a:gd name="T95" fmla="*/ 35 h 48"/>
                    <a:gd name="T96" fmla="*/ 60 w 77"/>
                    <a:gd name="T97" fmla="*/ 36 h 48"/>
                    <a:gd name="T98" fmla="*/ 62 w 77"/>
                    <a:gd name="T99" fmla="*/ 40 h 48"/>
                    <a:gd name="T100" fmla="*/ 66 w 77"/>
                    <a:gd name="T101" fmla="*/ 39 h 48"/>
                    <a:gd name="T102" fmla="*/ 74 w 77"/>
                    <a:gd name="T103" fmla="*/ 39 h 48"/>
                    <a:gd name="T104" fmla="*/ 12 w 77"/>
                    <a:gd name="T105" fmla="*/ 14 h 48"/>
                    <a:gd name="T106" fmla="*/ 7 w 77"/>
                    <a:gd name="T107" fmla="*/ 25 h 48"/>
                    <a:gd name="T108" fmla="*/ 27 w 77"/>
                    <a:gd name="T109" fmla="*/ 14 h 48"/>
                    <a:gd name="T110" fmla="*/ 8 w 77"/>
                    <a:gd name="T111" fmla="*/ 23 h 48"/>
                    <a:gd name="T112" fmla="*/ 25 w 77"/>
                    <a:gd name="T113" fmla="*/ 23 h 48"/>
                    <a:gd name="T114" fmla="*/ 14 w 77"/>
                    <a:gd name="T115" fmla="*/ 29 h 48"/>
                    <a:gd name="T116" fmla="*/ 17 w 77"/>
                    <a:gd name="T117" fmla="*/ 2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7" h="48">
                      <a:moveTo>
                        <a:pt x="75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9" y="0"/>
                        <a:pt x="28" y="1"/>
                        <a:pt x="28" y="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0" y="8"/>
                        <a:pt x="10" y="9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2"/>
                        <a:pt x="0" y="22"/>
                        <a:pt x="0" y="23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1"/>
                        <a:pt x="1" y="42"/>
                        <a:pt x="2" y="42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5"/>
                        <a:pt x="10" y="45"/>
                        <a:pt x="10" y="45"/>
                      </a:cubicBezTo>
                      <a:cubicBezTo>
                        <a:pt x="10" y="45"/>
                        <a:pt x="11" y="45"/>
                        <a:pt x="11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1" y="46"/>
                        <a:pt x="12" y="46"/>
                        <a:pt x="12" y="47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8"/>
                        <a:pt x="14" y="48"/>
                        <a:pt x="14" y="48"/>
                      </a:cubicBezTo>
                      <a:cubicBezTo>
                        <a:pt x="14" y="48"/>
                        <a:pt x="14" y="48"/>
                        <a:pt x="15" y="48"/>
                      </a:cubicBezTo>
                      <a:cubicBezTo>
                        <a:pt x="15" y="48"/>
                        <a:pt x="15" y="48"/>
                        <a:pt x="15" y="48"/>
                      </a:cubicBezTo>
                      <a:cubicBezTo>
                        <a:pt x="16" y="48"/>
                        <a:pt x="16" y="48"/>
                        <a:pt x="17" y="48"/>
                      </a:cubicBezTo>
                      <a:cubicBezTo>
                        <a:pt x="17" y="48"/>
                        <a:pt x="18" y="48"/>
                        <a:pt x="19" y="48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20" y="48"/>
                        <a:pt x="20" y="48"/>
                      </a:cubicBezTo>
                      <a:cubicBezTo>
                        <a:pt x="20" y="48"/>
                        <a:pt x="20" y="48"/>
                        <a:pt x="21" y="4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2" y="46"/>
                        <a:pt x="22" y="46"/>
                        <a:pt x="23" y="46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ubicBezTo>
                        <a:pt x="24" y="45"/>
                        <a:pt x="24" y="45"/>
                        <a:pt x="24" y="44"/>
                      </a:cubicBezTo>
                      <a:cubicBezTo>
                        <a:pt x="24" y="44"/>
                        <a:pt x="25" y="44"/>
                        <a:pt x="25" y="43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5" y="43"/>
                        <a:pt x="25" y="42"/>
                        <a:pt x="25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42"/>
                        <a:pt x="49" y="43"/>
                        <a:pt x="50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51" y="45"/>
                        <a:pt x="51" y="45"/>
                        <a:pt x="51" y="45"/>
                      </a:cubicBezTo>
                      <a:cubicBezTo>
                        <a:pt x="51" y="45"/>
                        <a:pt x="51" y="45"/>
                        <a:pt x="51" y="46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2" y="46"/>
                        <a:pt x="52" y="46"/>
                        <a:pt x="53" y="47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47"/>
                        <a:pt x="54" y="47"/>
                        <a:pt x="54" y="47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6" y="48"/>
                        <a:pt x="57" y="48"/>
                        <a:pt x="58" y="48"/>
                      </a:cubicBezTo>
                      <a:cubicBezTo>
                        <a:pt x="58" y="48"/>
                        <a:pt x="59" y="48"/>
                        <a:pt x="59" y="48"/>
                      </a:cubicBezTo>
                      <a:cubicBezTo>
                        <a:pt x="59" y="48"/>
                        <a:pt x="59" y="48"/>
                        <a:pt x="60" y="48"/>
                      </a:cubicBezTo>
                      <a:cubicBezTo>
                        <a:pt x="60" y="48"/>
                        <a:pt x="60" y="48"/>
                        <a:pt x="61" y="48"/>
                      </a:cubicBezTo>
                      <a:cubicBezTo>
                        <a:pt x="61" y="48"/>
                        <a:pt x="61" y="48"/>
                        <a:pt x="61" y="47"/>
                      </a:cubicBezTo>
                      <a:cubicBezTo>
                        <a:pt x="61" y="47"/>
                        <a:pt x="62" y="47"/>
                        <a:pt x="62" y="47"/>
                      </a:cubicBezTo>
                      <a:cubicBezTo>
                        <a:pt x="62" y="47"/>
                        <a:pt x="62" y="47"/>
                        <a:pt x="63" y="47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6"/>
                        <a:pt x="64" y="46"/>
                        <a:pt x="64" y="46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5"/>
                        <a:pt x="65" y="45"/>
                        <a:pt x="65" y="44"/>
                      </a:cubicBezTo>
                      <a:cubicBezTo>
                        <a:pt x="65" y="44"/>
                        <a:pt x="65" y="44"/>
                        <a:pt x="65" y="43"/>
                      </a:cubicBezTo>
                      <a:cubicBezTo>
                        <a:pt x="65" y="43"/>
                        <a:pt x="65" y="43"/>
                        <a:pt x="65" y="43"/>
                      </a:cubicBezTo>
                      <a:cubicBezTo>
                        <a:pt x="66" y="43"/>
                        <a:pt x="66" y="42"/>
                        <a:pt x="66" y="42"/>
                      </a:cubicBezTo>
                      <a:cubicBezTo>
                        <a:pt x="75" y="42"/>
                        <a:pt x="75" y="42"/>
                        <a:pt x="75" y="42"/>
                      </a:cubicBezTo>
                      <a:cubicBezTo>
                        <a:pt x="76" y="42"/>
                        <a:pt x="77" y="41"/>
                        <a:pt x="77" y="40"/>
                      </a:cubicBezTo>
                      <a:cubicBezTo>
                        <a:pt x="77" y="34"/>
                        <a:pt x="77" y="34"/>
                        <a:pt x="77" y="34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7" y="1"/>
                        <a:pt x="76" y="0"/>
                        <a:pt x="75" y="0"/>
                      </a:cubicBezTo>
                      <a:close/>
                      <a:moveTo>
                        <a:pt x="8" y="39"/>
                      </a:move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9" y="36"/>
                        <a:pt x="9" y="37"/>
                        <a:pt x="8" y="39"/>
                      </a:cubicBezTo>
                      <a:close/>
                      <a:moveTo>
                        <a:pt x="21" y="41"/>
                      </a:moveTo>
                      <a:cubicBezTo>
                        <a:pt x="21" y="41"/>
                        <a:pt x="21" y="42"/>
                        <a:pt x="21" y="42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3"/>
                        <a:pt x="19" y="43"/>
                        <a:pt x="19" y="43"/>
                      </a:cubicBezTo>
                      <a:cubicBezTo>
                        <a:pt x="19" y="44"/>
                        <a:pt x="19" y="44"/>
                        <a:pt x="19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6" y="44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4" y="43"/>
                        <a:pt x="14" y="43"/>
                        <a:pt x="14" y="43"/>
                      </a:cubicBezTo>
                      <a:cubicBezTo>
                        <a:pt x="14" y="43"/>
                        <a:pt x="13" y="43"/>
                        <a:pt x="13" y="42"/>
                      </a:cubicBezTo>
                      <a:cubicBezTo>
                        <a:pt x="13" y="42"/>
                        <a:pt x="13" y="42"/>
                        <a:pt x="13" y="42"/>
                      </a:cubicBezTo>
                      <a:cubicBezTo>
                        <a:pt x="13" y="42"/>
                        <a:pt x="13" y="41"/>
                        <a:pt x="13" y="41"/>
                      </a:cubicBezTo>
                      <a:cubicBezTo>
                        <a:pt x="13" y="40"/>
                        <a:pt x="12" y="40"/>
                        <a:pt x="12" y="40"/>
                      </a:cubicBezTo>
                      <a:cubicBezTo>
                        <a:pt x="12" y="39"/>
                        <a:pt x="13" y="38"/>
                        <a:pt x="13" y="37"/>
                      </a:cubicBezTo>
                      <a:cubicBezTo>
                        <a:pt x="13" y="37"/>
                        <a:pt x="13" y="37"/>
                        <a:pt x="13" y="37"/>
                      </a:cubicBezTo>
                      <a:cubicBezTo>
                        <a:pt x="13" y="37"/>
                        <a:pt x="14" y="37"/>
                        <a:pt x="14" y="36"/>
                      </a:cubicBezTo>
                      <a:cubicBezTo>
                        <a:pt x="14" y="36"/>
                        <a:pt x="14" y="36"/>
                        <a:pt x="15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6" y="35"/>
                        <a:pt x="16" y="35"/>
                        <a:pt x="17" y="35"/>
                      </a:cubicBezTo>
                      <a:cubicBezTo>
                        <a:pt x="17" y="35"/>
                        <a:pt x="18" y="35"/>
                        <a:pt x="19" y="36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19" y="36"/>
                        <a:pt x="20" y="36"/>
                        <a:pt x="20" y="36"/>
                      </a:cubicBezTo>
                      <a:cubicBezTo>
                        <a:pt x="20" y="37"/>
                        <a:pt x="20" y="37"/>
                        <a:pt x="21" y="37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1" y="38"/>
                        <a:pt x="21" y="39"/>
                        <a:pt x="21" y="40"/>
                      </a:cubicBezTo>
                      <a:cubicBezTo>
                        <a:pt x="21" y="40"/>
                        <a:pt x="21" y="40"/>
                        <a:pt x="21" y="41"/>
                      </a:cubicBezTo>
                      <a:close/>
                      <a:moveTo>
                        <a:pt x="22" y="33"/>
                      </a:moveTo>
                      <a:cubicBezTo>
                        <a:pt x="21" y="32"/>
                        <a:pt x="19" y="31"/>
                        <a:pt x="17" y="31"/>
                      </a:cubicBezTo>
                      <a:cubicBezTo>
                        <a:pt x="15" y="31"/>
                        <a:pt x="13" y="32"/>
                        <a:pt x="12" y="33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3" y="33"/>
                        <a:pt x="3" y="33"/>
                        <a:pt x="3" y="32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4"/>
                        <a:pt x="3" y="23"/>
                        <a:pt x="4" y="22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2" y="11"/>
                        <a:pt x="13" y="11"/>
                        <a:pt x="13" y="11"/>
                      </a:cubicBezTo>
                      <a:cubicBezTo>
                        <a:pt x="28" y="11"/>
                        <a:pt x="28" y="11"/>
                        <a:pt x="28" y="11"/>
                      </a:cubicBezTo>
                      <a:cubicBezTo>
                        <a:pt x="28" y="11"/>
                        <a:pt x="29" y="11"/>
                        <a:pt x="29" y="1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9" y="33"/>
                        <a:pt x="28" y="33"/>
                        <a:pt x="28" y="33"/>
                      </a:cubicBezTo>
                      <a:lnTo>
                        <a:pt x="22" y="33"/>
                      </a:lnTo>
                      <a:close/>
                      <a:moveTo>
                        <a:pt x="49" y="39"/>
                      </a:move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5" y="37"/>
                        <a:pt x="25" y="36"/>
                        <a:pt x="24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6"/>
                        <a:pt x="49" y="37"/>
                        <a:pt x="49" y="39"/>
                      </a:cubicBezTo>
                      <a:close/>
                      <a:moveTo>
                        <a:pt x="62" y="41"/>
                      </a:moveTo>
                      <a:cubicBezTo>
                        <a:pt x="62" y="41"/>
                        <a:pt x="62" y="42"/>
                        <a:pt x="61" y="42"/>
                      </a:cubicBezTo>
                      <a:cubicBezTo>
                        <a:pt x="61" y="42"/>
                        <a:pt x="61" y="42"/>
                        <a:pt x="61" y="42"/>
                      </a:cubicBezTo>
                      <a:cubicBezTo>
                        <a:pt x="61" y="43"/>
                        <a:pt x="61" y="43"/>
                        <a:pt x="60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60" y="44"/>
                        <a:pt x="59" y="44"/>
                        <a:pt x="59" y="44"/>
                      </a:cubicBezTo>
                      <a:cubicBezTo>
                        <a:pt x="59" y="44"/>
                        <a:pt x="58" y="44"/>
                        <a:pt x="58" y="44"/>
                      </a:cubicBezTo>
                      <a:cubicBezTo>
                        <a:pt x="57" y="44"/>
                        <a:pt x="56" y="44"/>
                        <a:pt x="56" y="44"/>
                      </a:cubicBezTo>
                      <a:cubicBezTo>
                        <a:pt x="56" y="44"/>
                        <a:pt x="55" y="44"/>
                        <a:pt x="55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4" y="43"/>
                        <a:pt x="54" y="43"/>
                        <a:pt x="54" y="42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4" y="42"/>
                        <a:pt x="53" y="41"/>
                        <a:pt x="53" y="41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3" y="39"/>
                        <a:pt x="53" y="38"/>
                        <a:pt x="54" y="37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cubicBezTo>
                        <a:pt x="54" y="37"/>
                        <a:pt x="54" y="37"/>
                        <a:pt x="55" y="36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6"/>
                        <a:pt x="56" y="36"/>
                        <a:pt x="56" y="36"/>
                      </a:cubicBezTo>
                      <a:cubicBezTo>
                        <a:pt x="56" y="35"/>
                        <a:pt x="57" y="35"/>
                        <a:pt x="58" y="35"/>
                      </a:cubicBezTo>
                      <a:cubicBezTo>
                        <a:pt x="58" y="35"/>
                        <a:pt x="59" y="35"/>
                        <a:pt x="59" y="36"/>
                      </a:cubicBezTo>
                      <a:cubicBezTo>
                        <a:pt x="59" y="36"/>
                        <a:pt x="60" y="36"/>
                        <a:pt x="60" y="36"/>
                      </a:cubicBezTo>
                      <a:cubicBezTo>
                        <a:pt x="60" y="36"/>
                        <a:pt x="60" y="36"/>
                        <a:pt x="60" y="36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2" y="38"/>
                        <a:pt x="62" y="39"/>
                        <a:pt x="62" y="40"/>
                      </a:cubicBezTo>
                      <a:cubicBezTo>
                        <a:pt x="62" y="40"/>
                        <a:pt x="62" y="40"/>
                        <a:pt x="62" y="41"/>
                      </a:cubicBezTo>
                      <a:close/>
                      <a:moveTo>
                        <a:pt x="74" y="39"/>
                      </a:move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7"/>
                        <a:pt x="65" y="36"/>
                        <a:pt x="65" y="35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lnTo>
                        <a:pt x="74" y="39"/>
                      </a:lnTo>
                      <a:close/>
                      <a:moveTo>
                        <a:pt x="26" y="13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2" y="13"/>
                        <a:pt x="12" y="14"/>
                        <a:pt x="12" y="14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6" y="25"/>
                        <a:pt x="6" y="25"/>
                        <a:pt x="7" y="25"/>
                      </a:cubicBezTo>
                      <a:cubicBezTo>
                        <a:pt x="26" y="25"/>
                        <a:pt x="26" y="25"/>
                        <a:pt x="26" y="25"/>
                      </a:cubicBezTo>
                      <a:cubicBezTo>
                        <a:pt x="26" y="25"/>
                        <a:pt x="27" y="25"/>
                        <a:pt x="27" y="24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7" y="14"/>
                        <a:pt x="26" y="13"/>
                        <a:pt x="26" y="13"/>
                      </a:cubicBezTo>
                      <a:close/>
                      <a:moveTo>
                        <a:pt x="25" y="23"/>
                      </a:moveTo>
                      <a:cubicBezTo>
                        <a:pt x="8" y="23"/>
                        <a:pt x="8" y="23"/>
                        <a:pt x="8" y="23"/>
                      </a:cubicBezTo>
                      <a:cubicBezTo>
                        <a:pt x="13" y="15"/>
                        <a:pt x="13" y="15"/>
                        <a:pt x="13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lnTo>
                        <a:pt x="25" y="23"/>
                      </a:lnTo>
                      <a:close/>
                      <a:moveTo>
                        <a:pt x="18" y="28"/>
                      </a:moveTo>
                      <a:cubicBezTo>
                        <a:pt x="18" y="28"/>
                        <a:pt x="18" y="29"/>
                        <a:pt x="17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3" y="29"/>
                        <a:pt x="13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18" y="27"/>
                        <a:pt x="18" y="27"/>
                        <a:pt x="1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0" name="Freeform 64">
                  <a:extLst>
                    <a:ext uri="{FF2B5EF4-FFF2-40B4-BE49-F238E27FC236}">
                      <a16:creationId xmlns:a16="http://schemas.microsoft.com/office/drawing/2014/main" id="{E92380C9-4FCA-4904-9C70-A6CE604F70D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46233" y="1761946"/>
                  <a:ext cx="284921" cy="192035"/>
                </a:xfrm>
                <a:custGeom>
                  <a:avLst/>
                  <a:gdLst>
                    <a:gd name="T0" fmla="*/ 58 w 58"/>
                    <a:gd name="T1" fmla="*/ 18 h 38"/>
                    <a:gd name="T2" fmla="*/ 31 w 58"/>
                    <a:gd name="T3" fmla="*/ 0 h 38"/>
                    <a:gd name="T4" fmla="*/ 1 w 58"/>
                    <a:gd name="T5" fmla="*/ 18 h 38"/>
                    <a:gd name="T6" fmla="*/ 0 w 58"/>
                    <a:gd name="T7" fmla="*/ 20 h 38"/>
                    <a:gd name="T8" fmla="*/ 31 w 58"/>
                    <a:gd name="T9" fmla="*/ 38 h 38"/>
                    <a:gd name="T10" fmla="*/ 58 w 58"/>
                    <a:gd name="T11" fmla="*/ 20 h 38"/>
                    <a:gd name="T12" fmla="*/ 58 w 58"/>
                    <a:gd name="T13" fmla="*/ 18 h 38"/>
                    <a:gd name="T14" fmla="*/ 18 w 58"/>
                    <a:gd name="T15" fmla="*/ 19 h 38"/>
                    <a:gd name="T16" fmla="*/ 16 w 58"/>
                    <a:gd name="T17" fmla="*/ 19 h 38"/>
                    <a:gd name="T18" fmla="*/ 28 w 58"/>
                    <a:gd name="T19" fmla="*/ 34 h 38"/>
                    <a:gd name="T20" fmla="*/ 4 w 58"/>
                    <a:gd name="T21" fmla="*/ 19 h 38"/>
                    <a:gd name="T22" fmla="*/ 27 w 58"/>
                    <a:gd name="T23" fmla="*/ 4 h 38"/>
                    <a:gd name="T24" fmla="*/ 19 w 58"/>
                    <a:gd name="T25" fmla="*/ 9 h 38"/>
                    <a:gd name="T26" fmla="*/ 21 w 58"/>
                    <a:gd name="T27" fmla="*/ 10 h 38"/>
                    <a:gd name="T28" fmla="*/ 31 w 58"/>
                    <a:gd name="T29" fmla="*/ 5 h 38"/>
                    <a:gd name="T30" fmla="*/ 45 w 58"/>
                    <a:gd name="T31" fmla="*/ 19 h 38"/>
                    <a:gd name="T32" fmla="*/ 31 w 58"/>
                    <a:gd name="T33" fmla="*/ 33 h 38"/>
                    <a:gd name="T34" fmla="*/ 18 w 58"/>
                    <a:gd name="T35" fmla="*/ 19 h 38"/>
                    <a:gd name="T36" fmla="*/ 36 w 58"/>
                    <a:gd name="T37" fmla="*/ 34 h 38"/>
                    <a:gd name="T38" fmla="*/ 47 w 58"/>
                    <a:gd name="T39" fmla="*/ 19 h 38"/>
                    <a:gd name="T40" fmla="*/ 38 w 58"/>
                    <a:gd name="T41" fmla="*/ 4 h 38"/>
                    <a:gd name="T42" fmla="*/ 55 w 58"/>
                    <a:gd name="T43" fmla="*/ 19 h 38"/>
                    <a:gd name="T44" fmla="*/ 36 w 58"/>
                    <a:gd name="T45" fmla="*/ 34 h 38"/>
                    <a:gd name="T46" fmla="*/ 40 w 58"/>
                    <a:gd name="T47" fmla="*/ 19 h 38"/>
                    <a:gd name="T48" fmla="*/ 31 w 58"/>
                    <a:gd name="T49" fmla="*/ 28 h 38"/>
                    <a:gd name="T50" fmla="*/ 23 w 58"/>
                    <a:gd name="T51" fmla="*/ 19 h 38"/>
                    <a:gd name="T52" fmla="*/ 31 w 58"/>
                    <a:gd name="T53" fmla="*/ 19 h 38"/>
                    <a:gd name="T54" fmla="*/ 24 w 58"/>
                    <a:gd name="T55" fmla="*/ 14 h 38"/>
                    <a:gd name="T56" fmla="*/ 31 w 58"/>
                    <a:gd name="T57" fmla="*/ 10 h 38"/>
                    <a:gd name="T58" fmla="*/ 40 w 58"/>
                    <a:gd name="T59" fmla="*/ 1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38">
                      <a:moveTo>
                        <a:pt x="58" y="18"/>
                      </a:moveTo>
                      <a:cubicBezTo>
                        <a:pt x="57" y="18"/>
                        <a:pt x="47" y="0"/>
                        <a:pt x="31" y="0"/>
                      </a:cubicBezTo>
                      <a:cubicBezTo>
                        <a:pt x="15" y="0"/>
                        <a:pt x="1" y="17"/>
                        <a:pt x="1" y="18"/>
                      </a:cubicBezTo>
                      <a:cubicBezTo>
                        <a:pt x="0" y="19"/>
                        <a:pt x="0" y="19"/>
                        <a:pt x="0" y="20"/>
                      </a:cubicBezTo>
                      <a:cubicBezTo>
                        <a:pt x="1" y="21"/>
                        <a:pt x="13" y="38"/>
                        <a:pt x="31" y="38"/>
                      </a:cubicBezTo>
                      <a:cubicBezTo>
                        <a:pt x="49" y="38"/>
                        <a:pt x="57" y="20"/>
                        <a:pt x="58" y="20"/>
                      </a:cubicBezTo>
                      <a:cubicBezTo>
                        <a:pt x="58" y="19"/>
                        <a:pt x="58" y="19"/>
                        <a:pt x="58" y="18"/>
                      </a:cubicBezTo>
                      <a:close/>
                      <a:moveTo>
                        <a:pt x="18" y="19"/>
                      </a:moveTo>
                      <a:cubicBezTo>
                        <a:pt x="16" y="19"/>
                        <a:pt x="16" y="19"/>
                        <a:pt x="16" y="19"/>
                      </a:cubicBezTo>
                      <a:cubicBezTo>
                        <a:pt x="16" y="27"/>
                        <a:pt x="21" y="33"/>
                        <a:pt x="28" y="34"/>
                      </a:cubicBezTo>
                      <a:cubicBezTo>
                        <a:pt x="16" y="33"/>
                        <a:pt x="6" y="22"/>
                        <a:pt x="4" y="19"/>
                      </a:cubicBezTo>
                      <a:cubicBezTo>
                        <a:pt x="6" y="16"/>
                        <a:pt x="16" y="6"/>
                        <a:pt x="27" y="4"/>
                      </a:cubicBezTo>
                      <a:cubicBezTo>
                        <a:pt x="24" y="5"/>
                        <a:pt x="21" y="7"/>
                        <a:pt x="19" y="9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23" y="7"/>
                        <a:pt x="27" y="5"/>
                        <a:pt x="31" y="5"/>
                      </a:cubicBezTo>
                      <a:cubicBezTo>
                        <a:pt x="39" y="5"/>
                        <a:pt x="45" y="11"/>
                        <a:pt x="45" y="19"/>
                      </a:cubicBezTo>
                      <a:cubicBezTo>
                        <a:pt x="45" y="27"/>
                        <a:pt x="39" y="33"/>
                        <a:pt x="31" y="33"/>
                      </a:cubicBezTo>
                      <a:cubicBezTo>
                        <a:pt x="24" y="33"/>
                        <a:pt x="18" y="27"/>
                        <a:pt x="18" y="19"/>
                      </a:cubicBezTo>
                      <a:close/>
                      <a:moveTo>
                        <a:pt x="36" y="34"/>
                      </a:moveTo>
                      <a:cubicBezTo>
                        <a:pt x="42" y="32"/>
                        <a:pt x="47" y="26"/>
                        <a:pt x="47" y="19"/>
                      </a:cubicBezTo>
                      <a:cubicBezTo>
                        <a:pt x="47" y="12"/>
                        <a:pt x="43" y="7"/>
                        <a:pt x="38" y="4"/>
                      </a:cubicBezTo>
                      <a:cubicBezTo>
                        <a:pt x="47" y="8"/>
                        <a:pt x="53" y="17"/>
                        <a:pt x="55" y="19"/>
                      </a:cubicBezTo>
                      <a:cubicBezTo>
                        <a:pt x="53" y="22"/>
                        <a:pt x="47" y="32"/>
                        <a:pt x="36" y="34"/>
                      </a:cubicBezTo>
                      <a:close/>
                      <a:moveTo>
                        <a:pt x="40" y="19"/>
                      </a:moveTo>
                      <a:cubicBezTo>
                        <a:pt x="40" y="24"/>
                        <a:pt x="36" y="28"/>
                        <a:pt x="31" y="28"/>
                      </a:cubicBezTo>
                      <a:cubicBezTo>
                        <a:pt x="27" y="28"/>
                        <a:pt x="23" y="24"/>
                        <a:pt x="23" y="19"/>
                      </a:cubicBez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6" y="12"/>
                        <a:pt x="29" y="10"/>
                        <a:pt x="31" y="10"/>
                      </a:cubicBezTo>
                      <a:cubicBezTo>
                        <a:pt x="36" y="10"/>
                        <a:pt x="40" y="14"/>
                        <a:pt x="40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1" name="Freeform 20">
                  <a:extLst>
                    <a:ext uri="{FF2B5EF4-FFF2-40B4-BE49-F238E27FC236}">
                      <a16:creationId xmlns:a16="http://schemas.microsoft.com/office/drawing/2014/main" id="{240CD126-77A2-47B1-9523-57C41B9DA6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66245" y="4370787"/>
                  <a:ext cx="248280" cy="230333"/>
                </a:xfrm>
                <a:custGeom>
                  <a:avLst/>
                  <a:gdLst>
                    <a:gd name="T0" fmla="*/ 55 w 70"/>
                    <a:gd name="T1" fmla="*/ 45 h 65"/>
                    <a:gd name="T2" fmla="*/ 55 w 70"/>
                    <a:gd name="T3" fmla="*/ 35 h 65"/>
                    <a:gd name="T4" fmla="*/ 29 w 70"/>
                    <a:gd name="T5" fmla="*/ 25 h 65"/>
                    <a:gd name="T6" fmla="*/ 40 w 70"/>
                    <a:gd name="T7" fmla="*/ 50 h 65"/>
                    <a:gd name="T8" fmla="*/ 49 w 70"/>
                    <a:gd name="T9" fmla="*/ 51 h 65"/>
                    <a:gd name="T10" fmla="*/ 64 w 70"/>
                    <a:gd name="T11" fmla="*/ 65 h 65"/>
                    <a:gd name="T12" fmla="*/ 48 w 70"/>
                    <a:gd name="T13" fmla="*/ 44 h 65"/>
                    <a:gd name="T14" fmla="*/ 28 w 70"/>
                    <a:gd name="T15" fmla="*/ 35 h 65"/>
                    <a:gd name="T16" fmla="*/ 48 w 70"/>
                    <a:gd name="T17" fmla="*/ 27 h 65"/>
                    <a:gd name="T18" fmla="*/ 50 w 70"/>
                    <a:gd name="T19" fmla="*/ 47 h 65"/>
                    <a:gd name="T20" fmla="*/ 51 w 70"/>
                    <a:gd name="T21" fmla="*/ 45 h 65"/>
                    <a:gd name="T22" fmla="*/ 66 w 70"/>
                    <a:gd name="T23" fmla="*/ 61 h 65"/>
                    <a:gd name="T24" fmla="*/ 52 w 70"/>
                    <a:gd name="T25" fmla="*/ 50 h 65"/>
                    <a:gd name="T26" fmla="*/ 53 w 70"/>
                    <a:gd name="T27" fmla="*/ 49 h 65"/>
                    <a:gd name="T28" fmla="*/ 55 w 70"/>
                    <a:gd name="T29" fmla="*/ 48 h 65"/>
                    <a:gd name="T30" fmla="*/ 66 w 70"/>
                    <a:gd name="T31" fmla="*/ 61 h 65"/>
                    <a:gd name="T32" fmla="*/ 34 w 70"/>
                    <a:gd name="T33" fmla="*/ 42 h 65"/>
                    <a:gd name="T34" fmla="*/ 32 w 70"/>
                    <a:gd name="T35" fmla="*/ 43 h 65"/>
                    <a:gd name="T36" fmla="*/ 34 w 70"/>
                    <a:gd name="T37" fmla="*/ 28 h 65"/>
                    <a:gd name="T38" fmla="*/ 39 w 70"/>
                    <a:gd name="T39" fmla="*/ 60 h 65"/>
                    <a:gd name="T40" fmla="*/ 33 w 70"/>
                    <a:gd name="T41" fmla="*/ 60 h 65"/>
                    <a:gd name="T42" fmla="*/ 31 w 70"/>
                    <a:gd name="T43" fmla="*/ 60 h 65"/>
                    <a:gd name="T44" fmla="*/ 28 w 70"/>
                    <a:gd name="T45" fmla="*/ 47 h 65"/>
                    <a:gd name="T46" fmla="*/ 18 w 70"/>
                    <a:gd name="T47" fmla="*/ 33 h 65"/>
                    <a:gd name="T48" fmla="*/ 18 w 70"/>
                    <a:gd name="T49" fmla="*/ 31 h 65"/>
                    <a:gd name="T50" fmla="*/ 31 w 70"/>
                    <a:gd name="T51" fmla="*/ 21 h 65"/>
                    <a:gd name="T52" fmla="*/ 45 w 70"/>
                    <a:gd name="T53" fmla="*/ 19 h 65"/>
                    <a:gd name="T54" fmla="*/ 47 w 70"/>
                    <a:gd name="T55" fmla="*/ 19 h 65"/>
                    <a:gd name="T56" fmla="*/ 56 w 70"/>
                    <a:gd name="T57" fmla="*/ 33 h 65"/>
                    <a:gd name="T58" fmla="*/ 55 w 70"/>
                    <a:gd name="T59" fmla="*/ 43 h 65"/>
                    <a:gd name="T60" fmla="*/ 60 w 70"/>
                    <a:gd name="T61" fmla="*/ 45 h 65"/>
                    <a:gd name="T62" fmla="*/ 32 w 70"/>
                    <a:gd name="T63" fmla="*/ 0 h 65"/>
                    <a:gd name="T64" fmla="*/ 51 w 70"/>
                    <a:gd name="T65" fmla="*/ 57 h 65"/>
                    <a:gd name="T66" fmla="*/ 60 w 70"/>
                    <a:gd name="T67" fmla="*/ 24 h 65"/>
                    <a:gd name="T68" fmla="*/ 60 w 70"/>
                    <a:gd name="T69" fmla="*/ 24 h 65"/>
                    <a:gd name="T70" fmla="*/ 33 w 70"/>
                    <a:gd name="T71" fmla="*/ 15 h 65"/>
                    <a:gd name="T72" fmla="*/ 31 w 70"/>
                    <a:gd name="T73" fmla="*/ 15 h 65"/>
                    <a:gd name="T74" fmla="*/ 25 w 70"/>
                    <a:gd name="T75" fmla="*/ 4 h 65"/>
                    <a:gd name="T76" fmla="*/ 25 w 70"/>
                    <a:gd name="T77" fmla="*/ 4 h 65"/>
                    <a:gd name="T78" fmla="*/ 3 w 70"/>
                    <a:gd name="T79" fmla="*/ 31 h 65"/>
                    <a:gd name="T80" fmla="*/ 17 w 70"/>
                    <a:gd name="T81" fmla="*/ 44 h 65"/>
                    <a:gd name="T82" fmla="*/ 4 w 70"/>
                    <a:gd name="T83" fmla="*/ 39 h 65"/>
                    <a:gd name="T84" fmla="*/ 4 w 70"/>
                    <a:gd name="T85" fmla="*/ 39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70" h="65">
                      <a:moveTo>
                        <a:pt x="68" y="55"/>
                      </a:moveTo>
                      <a:cubicBezTo>
                        <a:pt x="59" y="47"/>
                        <a:pt x="59" y="47"/>
                        <a:pt x="59" y="47"/>
                      </a:cubicBezTo>
                      <a:cubicBezTo>
                        <a:pt x="58" y="46"/>
                        <a:pt x="56" y="45"/>
                        <a:pt x="55" y="45"/>
                      </a:cubicBezTo>
                      <a:cubicBezTo>
                        <a:pt x="54" y="45"/>
                        <a:pt x="54" y="45"/>
                        <a:pt x="54" y="45"/>
                      </a:cubicBezTo>
                      <a:cubicBezTo>
                        <a:pt x="52" y="44"/>
                        <a:pt x="52" y="44"/>
                        <a:pt x="52" y="44"/>
                      </a:cubicBezTo>
                      <a:cubicBezTo>
                        <a:pt x="54" y="41"/>
                        <a:pt x="55" y="38"/>
                        <a:pt x="55" y="35"/>
                      </a:cubicBezTo>
                      <a:cubicBezTo>
                        <a:pt x="55" y="31"/>
                        <a:pt x="53" y="28"/>
                        <a:pt x="50" y="25"/>
                      </a:cubicBezTo>
                      <a:cubicBezTo>
                        <a:pt x="47" y="22"/>
                        <a:pt x="44" y="21"/>
                        <a:pt x="40" y="21"/>
                      </a:cubicBezTo>
                      <a:cubicBezTo>
                        <a:pt x="36" y="21"/>
                        <a:pt x="32" y="22"/>
                        <a:pt x="29" y="25"/>
                      </a:cubicBezTo>
                      <a:cubicBezTo>
                        <a:pt x="26" y="28"/>
                        <a:pt x="25" y="31"/>
                        <a:pt x="25" y="35"/>
                      </a:cubicBezTo>
                      <a:cubicBezTo>
                        <a:pt x="25" y="39"/>
                        <a:pt x="26" y="43"/>
                        <a:pt x="29" y="46"/>
                      </a:cubicBezTo>
                      <a:cubicBezTo>
                        <a:pt x="32" y="49"/>
                        <a:pt x="36" y="50"/>
                        <a:pt x="40" y="50"/>
                      </a:cubicBezTo>
                      <a:cubicBezTo>
                        <a:pt x="43" y="50"/>
                        <a:pt x="46" y="50"/>
                        <a:pt x="48" y="48"/>
                      </a:cubicBezTo>
                      <a:cubicBezTo>
                        <a:pt x="49" y="49"/>
                        <a:pt x="49" y="49"/>
                        <a:pt x="49" y="49"/>
                      </a:cubicBezTo>
                      <a:cubicBezTo>
                        <a:pt x="49" y="50"/>
                        <a:pt x="49" y="50"/>
                        <a:pt x="49" y="51"/>
                      </a:cubicBezTo>
                      <a:cubicBezTo>
                        <a:pt x="49" y="52"/>
                        <a:pt x="50" y="53"/>
                        <a:pt x="51" y="55"/>
                      </a:cubicBezTo>
                      <a:cubicBezTo>
                        <a:pt x="60" y="63"/>
                        <a:pt x="60" y="63"/>
                        <a:pt x="60" y="63"/>
                      </a:cubicBezTo>
                      <a:cubicBezTo>
                        <a:pt x="61" y="64"/>
                        <a:pt x="62" y="65"/>
                        <a:pt x="64" y="65"/>
                      </a:cubicBezTo>
                      <a:cubicBezTo>
                        <a:pt x="65" y="65"/>
                        <a:pt x="67" y="64"/>
                        <a:pt x="68" y="63"/>
                      </a:cubicBezTo>
                      <a:cubicBezTo>
                        <a:pt x="70" y="61"/>
                        <a:pt x="70" y="58"/>
                        <a:pt x="68" y="55"/>
                      </a:cubicBezTo>
                      <a:close/>
                      <a:moveTo>
                        <a:pt x="48" y="44"/>
                      </a:moveTo>
                      <a:cubicBezTo>
                        <a:pt x="46" y="46"/>
                        <a:pt x="43" y="47"/>
                        <a:pt x="40" y="47"/>
                      </a:cubicBezTo>
                      <a:cubicBezTo>
                        <a:pt x="37" y="47"/>
                        <a:pt x="34" y="46"/>
                        <a:pt x="31" y="44"/>
                      </a:cubicBezTo>
                      <a:cubicBezTo>
                        <a:pt x="29" y="42"/>
                        <a:pt x="28" y="39"/>
                        <a:pt x="28" y="35"/>
                      </a:cubicBezTo>
                      <a:cubicBezTo>
                        <a:pt x="28" y="32"/>
                        <a:pt x="29" y="29"/>
                        <a:pt x="31" y="27"/>
                      </a:cubicBezTo>
                      <a:cubicBezTo>
                        <a:pt x="34" y="25"/>
                        <a:pt x="37" y="24"/>
                        <a:pt x="40" y="24"/>
                      </a:cubicBezTo>
                      <a:cubicBezTo>
                        <a:pt x="43" y="24"/>
                        <a:pt x="46" y="25"/>
                        <a:pt x="48" y="27"/>
                      </a:cubicBezTo>
                      <a:cubicBezTo>
                        <a:pt x="53" y="32"/>
                        <a:pt x="53" y="39"/>
                        <a:pt x="48" y="44"/>
                      </a:cubicBezTo>
                      <a:close/>
                      <a:moveTo>
                        <a:pt x="51" y="47"/>
                      </a:moveTo>
                      <a:cubicBezTo>
                        <a:pt x="51" y="47"/>
                        <a:pt x="50" y="47"/>
                        <a:pt x="50" y="47"/>
                      </a:cubicBezTo>
                      <a:cubicBezTo>
                        <a:pt x="49" y="47"/>
                        <a:pt x="49" y="47"/>
                        <a:pt x="49" y="47"/>
                      </a:cubicBezTo>
                      <a:cubicBezTo>
                        <a:pt x="50" y="46"/>
                        <a:pt x="50" y="46"/>
                        <a:pt x="50" y="46"/>
                      </a:cubicBezTo>
                      <a:cubicBezTo>
                        <a:pt x="51" y="46"/>
                        <a:pt x="51" y="45"/>
                        <a:pt x="51" y="45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1" y="46"/>
                        <a:pt x="51" y="46"/>
                        <a:pt x="51" y="47"/>
                      </a:cubicBezTo>
                      <a:close/>
                      <a:moveTo>
                        <a:pt x="66" y="61"/>
                      </a:moveTo>
                      <a:cubicBezTo>
                        <a:pt x="65" y="62"/>
                        <a:pt x="63" y="62"/>
                        <a:pt x="62" y="61"/>
                      </a:cubicBezTo>
                      <a:cubicBezTo>
                        <a:pt x="53" y="52"/>
                        <a:pt x="53" y="52"/>
                        <a:pt x="53" y="52"/>
                      </a:cubicBezTo>
                      <a:cubicBezTo>
                        <a:pt x="53" y="52"/>
                        <a:pt x="52" y="51"/>
                        <a:pt x="52" y="50"/>
                      </a:cubicBezTo>
                      <a:cubicBezTo>
                        <a:pt x="52" y="50"/>
                        <a:pt x="52" y="50"/>
                        <a:pt x="52" y="50"/>
                      </a:cubicBezTo>
                      <a:cubicBezTo>
                        <a:pt x="52" y="50"/>
                        <a:pt x="52" y="49"/>
                        <a:pt x="52" y="49"/>
                      </a:cubicBezTo>
                      <a:cubicBezTo>
                        <a:pt x="53" y="49"/>
                        <a:pt x="53" y="49"/>
                        <a:pt x="53" y="49"/>
                      </a:cubicBezTo>
                      <a:cubicBezTo>
                        <a:pt x="53" y="48"/>
                        <a:pt x="53" y="48"/>
                        <a:pt x="54" y="48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4" y="48"/>
                        <a:pt x="54" y="48"/>
                        <a:pt x="55" y="48"/>
                      </a:cubicBezTo>
                      <a:cubicBezTo>
                        <a:pt x="55" y="48"/>
                        <a:pt x="56" y="48"/>
                        <a:pt x="57" y="49"/>
                      </a:cubicBezTo>
                      <a:cubicBezTo>
                        <a:pt x="65" y="58"/>
                        <a:pt x="65" y="58"/>
                        <a:pt x="65" y="58"/>
                      </a:cubicBezTo>
                      <a:cubicBezTo>
                        <a:pt x="66" y="59"/>
                        <a:pt x="67" y="60"/>
                        <a:pt x="66" y="61"/>
                      </a:cubicBezTo>
                      <a:close/>
                      <a:moveTo>
                        <a:pt x="34" y="29"/>
                      </a:moveTo>
                      <a:cubicBezTo>
                        <a:pt x="32" y="31"/>
                        <a:pt x="31" y="33"/>
                        <a:pt x="31" y="35"/>
                      </a:cubicBezTo>
                      <a:cubicBezTo>
                        <a:pt x="31" y="38"/>
                        <a:pt x="32" y="40"/>
                        <a:pt x="34" y="42"/>
                      </a:cubicBezTo>
                      <a:cubicBezTo>
                        <a:pt x="34" y="42"/>
                        <a:pt x="34" y="43"/>
                        <a:pt x="34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3" y="43"/>
                        <a:pt x="32" y="43"/>
                        <a:pt x="32" y="43"/>
                      </a:cubicBezTo>
                      <a:cubicBezTo>
                        <a:pt x="30" y="41"/>
                        <a:pt x="29" y="38"/>
                        <a:pt x="29" y="35"/>
                      </a:cubicBezTo>
                      <a:cubicBezTo>
                        <a:pt x="29" y="33"/>
                        <a:pt x="30" y="30"/>
                        <a:pt x="32" y="28"/>
                      </a:cubicBezTo>
                      <a:cubicBezTo>
                        <a:pt x="33" y="28"/>
                        <a:pt x="33" y="28"/>
                        <a:pt x="34" y="28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lose/>
                      <a:moveTo>
                        <a:pt x="49" y="55"/>
                      </a:moveTo>
                      <a:cubicBezTo>
                        <a:pt x="46" y="57"/>
                        <a:pt x="43" y="59"/>
                        <a:pt x="39" y="60"/>
                      </a:cubicBezTo>
                      <a:cubicBezTo>
                        <a:pt x="41" y="58"/>
                        <a:pt x="43" y="55"/>
                        <a:pt x="45" y="52"/>
                      </a:cubicBezTo>
                      <a:cubicBezTo>
                        <a:pt x="44" y="52"/>
                        <a:pt x="43" y="52"/>
                        <a:pt x="42" y="52"/>
                      </a:cubicBezTo>
                      <a:cubicBezTo>
                        <a:pt x="40" y="57"/>
                        <a:pt x="37" y="60"/>
                        <a:pt x="33" y="60"/>
                      </a:cubicBezTo>
                      <a:cubicBezTo>
                        <a:pt x="33" y="51"/>
                        <a:pt x="33" y="51"/>
                        <a:pt x="33" y="51"/>
                      </a:cubicBezTo>
                      <a:cubicBezTo>
                        <a:pt x="32" y="51"/>
                        <a:pt x="32" y="50"/>
                        <a:pt x="31" y="50"/>
                      </a:cubicBezTo>
                      <a:cubicBezTo>
                        <a:pt x="31" y="60"/>
                        <a:pt x="31" y="60"/>
                        <a:pt x="31" y="60"/>
                      </a:cubicBezTo>
                      <a:cubicBezTo>
                        <a:pt x="26" y="60"/>
                        <a:pt x="22" y="54"/>
                        <a:pt x="20" y="47"/>
                      </a:cubicBezTo>
                      <a:cubicBezTo>
                        <a:pt x="22" y="47"/>
                        <a:pt x="25" y="48"/>
                        <a:pt x="28" y="48"/>
                      </a:cubicBezTo>
                      <a:cubicBezTo>
                        <a:pt x="28" y="48"/>
                        <a:pt x="28" y="48"/>
                        <a:pt x="28" y="47"/>
                      </a:cubicBezTo>
                      <a:cubicBezTo>
                        <a:pt x="27" y="47"/>
                        <a:pt x="27" y="46"/>
                        <a:pt x="26" y="46"/>
                      </a:cubicBezTo>
                      <a:cubicBezTo>
                        <a:pt x="24" y="45"/>
                        <a:pt x="21" y="45"/>
                        <a:pt x="19" y="44"/>
                      </a:cubicBezTo>
                      <a:cubicBezTo>
                        <a:pt x="18" y="41"/>
                        <a:pt x="18" y="37"/>
                        <a:pt x="18" y="33"/>
                      </a:cubicBezTo>
                      <a:cubicBezTo>
                        <a:pt x="23" y="33"/>
                        <a:pt x="23" y="33"/>
                        <a:pt x="23" y="33"/>
                      </a:cubicBezTo>
                      <a:cubicBezTo>
                        <a:pt x="23" y="32"/>
                        <a:pt x="23" y="31"/>
                        <a:pt x="24" y="31"/>
                      </a:cubicBezTo>
                      <a:cubicBezTo>
                        <a:pt x="18" y="31"/>
                        <a:pt x="18" y="31"/>
                        <a:pt x="18" y="31"/>
                      </a:cubicBezTo>
                      <a:cubicBezTo>
                        <a:pt x="18" y="26"/>
                        <a:pt x="18" y="22"/>
                        <a:pt x="19" y="19"/>
                      </a:cubicBezTo>
                      <a:cubicBezTo>
                        <a:pt x="23" y="18"/>
                        <a:pt x="27" y="17"/>
                        <a:pt x="31" y="17"/>
                      </a:cubicBezTo>
                      <a:cubicBezTo>
                        <a:pt x="31" y="21"/>
                        <a:pt x="31" y="21"/>
                        <a:pt x="31" y="21"/>
                      </a:cubicBezTo>
                      <a:cubicBezTo>
                        <a:pt x="32" y="21"/>
                        <a:pt x="32" y="20"/>
                        <a:pt x="33" y="20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7" y="17"/>
                        <a:pt x="41" y="18"/>
                        <a:pt x="45" y="19"/>
                      </a:cubicBezTo>
                      <a:cubicBezTo>
                        <a:pt x="45" y="19"/>
                        <a:pt x="45" y="19"/>
                        <a:pt x="45" y="20"/>
                      </a:cubicBezTo>
                      <a:cubicBezTo>
                        <a:pt x="46" y="20"/>
                        <a:pt x="47" y="20"/>
                        <a:pt x="48" y="21"/>
                      </a:cubicBezTo>
                      <a:cubicBezTo>
                        <a:pt x="47" y="20"/>
                        <a:pt x="47" y="20"/>
                        <a:pt x="47" y="19"/>
                      </a:cubicBezTo>
                      <a:cubicBezTo>
                        <a:pt x="55" y="22"/>
                        <a:pt x="60" y="26"/>
                        <a:pt x="61" y="31"/>
                      </a:cubicBezTo>
                      <a:cubicBezTo>
                        <a:pt x="56" y="31"/>
                        <a:pt x="56" y="31"/>
                        <a:pt x="56" y="31"/>
                      </a:cubicBezTo>
                      <a:cubicBezTo>
                        <a:pt x="56" y="31"/>
                        <a:pt x="56" y="32"/>
                        <a:pt x="56" y="33"/>
                      </a:cubicBez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61" y="35"/>
                        <a:pt x="59" y="38"/>
                        <a:pt x="56" y="40"/>
                      </a:cubicBezTo>
                      <a:cubicBezTo>
                        <a:pt x="56" y="41"/>
                        <a:pt x="55" y="42"/>
                        <a:pt x="55" y="43"/>
                      </a:cubicBezTo>
                      <a:cubicBezTo>
                        <a:pt x="57" y="41"/>
                        <a:pt x="59" y="40"/>
                        <a:pt x="60" y="39"/>
                      </a:cubicBezTo>
                      <a:cubicBezTo>
                        <a:pt x="60" y="40"/>
                        <a:pt x="59" y="42"/>
                        <a:pt x="58" y="44"/>
                      </a:cubicBezTo>
                      <a:cubicBezTo>
                        <a:pt x="59" y="44"/>
                        <a:pt x="60" y="45"/>
                        <a:pt x="60" y="45"/>
                      </a:cubicBezTo>
                      <a:cubicBezTo>
                        <a:pt x="61" y="46"/>
                        <a:pt x="61" y="46"/>
                        <a:pt x="61" y="46"/>
                      </a:cubicBezTo>
                      <a:cubicBezTo>
                        <a:pt x="63" y="41"/>
                        <a:pt x="64" y="37"/>
                        <a:pt x="64" y="32"/>
                      </a:cubicBezTo>
                      <a:cubicBezTo>
                        <a:pt x="64" y="14"/>
                        <a:pt x="50" y="0"/>
                        <a:pt x="32" y="0"/>
                      </a:cubicBezTo>
                      <a:cubicBezTo>
                        <a:pt x="15" y="0"/>
                        <a:pt x="0" y="14"/>
                        <a:pt x="0" y="32"/>
                      </a:cubicBezTo>
                      <a:cubicBezTo>
                        <a:pt x="0" y="49"/>
                        <a:pt x="15" y="63"/>
                        <a:pt x="32" y="63"/>
                      </a:cubicBezTo>
                      <a:cubicBezTo>
                        <a:pt x="39" y="63"/>
                        <a:pt x="46" y="61"/>
                        <a:pt x="51" y="57"/>
                      </a:cubicBezTo>
                      <a:cubicBezTo>
                        <a:pt x="50" y="56"/>
                        <a:pt x="50" y="56"/>
                        <a:pt x="50" y="56"/>
                      </a:cubicBezTo>
                      <a:cubicBezTo>
                        <a:pt x="49" y="56"/>
                        <a:pt x="49" y="55"/>
                        <a:pt x="49" y="55"/>
                      </a:cubicBezTo>
                      <a:close/>
                      <a:moveTo>
                        <a:pt x="60" y="24"/>
                      </a:moveTo>
                      <a:cubicBezTo>
                        <a:pt x="57" y="21"/>
                        <a:pt x="53" y="19"/>
                        <a:pt x="47" y="17"/>
                      </a:cubicBezTo>
                      <a:cubicBezTo>
                        <a:pt x="45" y="11"/>
                        <a:pt x="42" y="6"/>
                        <a:pt x="39" y="4"/>
                      </a:cubicBezTo>
                      <a:cubicBezTo>
                        <a:pt x="50" y="6"/>
                        <a:pt x="58" y="14"/>
                        <a:pt x="60" y="24"/>
                      </a:cubicBezTo>
                      <a:close/>
                      <a:moveTo>
                        <a:pt x="33" y="3"/>
                      </a:moveTo>
                      <a:cubicBezTo>
                        <a:pt x="38" y="3"/>
                        <a:pt x="42" y="9"/>
                        <a:pt x="44" y="16"/>
                      </a:cubicBezTo>
                      <a:cubicBezTo>
                        <a:pt x="41" y="16"/>
                        <a:pt x="37" y="15"/>
                        <a:pt x="33" y="15"/>
                      </a:cubicBezTo>
                      <a:lnTo>
                        <a:pt x="33" y="3"/>
                      </a:lnTo>
                      <a:close/>
                      <a:moveTo>
                        <a:pt x="31" y="3"/>
                      </a:moveTo>
                      <a:cubicBezTo>
                        <a:pt x="31" y="15"/>
                        <a:pt x="31" y="15"/>
                        <a:pt x="31" y="15"/>
                      </a:cubicBezTo>
                      <a:cubicBezTo>
                        <a:pt x="27" y="15"/>
                        <a:pt x="23" y="16"/>
                        <a:pt x="20" y="16"/>
                      </a:cubicBezTo>
                      <a:cubicBezTo>
                        <a:pt x="22" y="9"/>
                        <a:pt x="26" y="3"/>
                        <a:pt x="31" y="3"/>
                      </a:cubicBezTo>
                      <a:close/>
                      <a:moveTo>
                        <a:pt x="25" y="4"/>
                      </a:moveTo>
                      <a:cubicBezTo>
                        <a:pt x="22" y="6"/>
                        <a:pt x="19" y="11"/>
                        <a:pt x="18" y="17"/>
                      </a:cubicBezTo>
                      <a:cubicBezTo>
                        <a:pt x="12" y="19"/>
                        <a:pt x="7" y="21"/>
                        <a:pt x="4" y="24"/>
                      </a:cubicBezTo>
                      <a:cubicBezTo>
                        <a:pt x="7" y="14"/>
                        <a:pt x="15" y="6"/>
                        <a:pt x="25" y="4"/>
                      </a:cubicBezTo>
                      <a:close/>
                      <a:moveTo>
                        <a:pt x="17" y="19"/>
                      </a:moveTo>
                      <a:cubicBezTo>
                        <a:pt x="16" y="23"/>
                        <a:pt x="16" y="27"/>
                        <a:pt x="16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4" y="26"/>
                        <a:pt x="9" y="22"/>
                        <a:pt x="17" y="19"/>
                      </a:cubicBezTo>
                      <a:close/>
                      <a:moveTo>
                        <a:pt x="16" y="33"/>
                      </a:moveTo>
                      <a:cubicBezTo>
                        <a:pt x="16" y="37"/>
                        <a:pt x="16" y="40"/>
                        <a:pt x="17" y="44"/>
                      </a:cubicBezTo>
                      <a:cubicBezTo>
                        <a:pt x="9" y="41"/>
                        <a:pt x="4" y="37"/>
                        <a:pt x="3" y="33"/>
                      </a:cubicBezTo>
                      <a:lnTo>
                        <a:pt x="16" y="33"/>
                      </a:lnTo>
                      <a:close/>
                      <a:moveTo>
                        <a:pt x="4" y="39"/>
                      </a:moveTo>
                      <a:cubicBezTo>
                        <a:pt x="7" y="42"/>
                        <a:pt x="12" y="44"/>
                        <a:pt x="18" y="46"/>
                      </a:cubicBezTo>
                      <a:cubicBezTo>
                        <a:pt x="19" y="52"/>
                        <a:pt x="22" y="57"/>
                        <a:pt x="25" y="60"/>
                      </a:cubicBezTo>
                      <a:cubicBezTo>
                        <a:pt x="15" y="57"/>
                        <a:pt x="7" y="49"/>
                        <a:pt x="4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2" name="Freeform 35">
                  <a:extLst>
                    <a:ext uri="{FF2B5EF4-FFF2-40B4-BE49-F238E27FC236}">
                      <a16:creationId xmlns:a16="http://schemas.microsoft.com/office/drawing/2014/main" id="{F27C5BFF-A6B7-4DDC-B71E-405C65251EC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56905" y="3611909"/>
                  <a:ext cx="239130" cy="228536"/>
                </a:xfrm>
                <a:custGeom>
                  <a:avLst/>
                  <a:gdLst>
                    <a:gd name="T0" fmla="*/ 44 w 67"/>
                    <a:gd name="T1" fmla="*/ 21 h 64"/>
                    <a:gd name="T2" fmla="*/ 25 w 67"/>
                    <a:gd name="T3" fmla="*/ 19 h 64"/>
                    <a:gd name="T4" fmla="*/ 24 w 67"/>
                    <a:gd name="T5" fmla="*/ 21 h 64"/>
                    <a:gd name="T6" fmla="*/ 16 w 67"/>
                    <a:gd name="T7" fmla="*/ 30 h 64"/>
                    <a:gd name="T8" fmla="*/ 26 w 67"/>
                    <a:gd name="T9" fmla="*/ 36 h 64"/>
                    <a:gd name="T10" fmla="*/ 32 w 67"/>
                    <a:gd name="T11" fmla="*/ 42 h 64"/>
                    <a:gd name="T12" fmla="*/ 26 w 67"/>
                    <a:gd name="T13" fmla="*/ 48 h 64"/>
                    <a:gd name="T14" fmla="*/ 42 w 67"/>
                    <a:gd name="T15" fmla="*/ 48 h 64"/>
                    <a:gd name="T16" fmla="*/ 36 w 67"/>
                    <a:gd name="T17" fmla="*/ 42 h 64"/>
                    <a:gd name="T18" fmla="*/ 42 w 67"/>
                    <a:gd name="T19" fmla="*/ 36 h 64"/>
                    <a:gd name="T20" fmla="*/ 51 w 67"/>
                    <a:gd name="T21" fmla="*/ 30 h 64"/>
                    <a:gd name="T22" fmla="*/ 19 w 67"/>
                    <a:gd name="T23" fmla="*/ 30 h 64"/>
                    <a:gd name="T24" fmla="*/ 24 w 67"/>
                    <a:gd name="T25" fmla="*/ 31 h 64"/>
                    <a:gd name="T26" fmla="*/ 48 w 67"/>
                    <a:gd name="T27" fmla="*/ 30 h 64"/>
                    <a:gd name="T28" fmla="*/ 44 w 67"/>
                    <a:gd name="T29" fmla="*/ 31 h 64"/>
                    <a:gd name="T30" fmla="*/ 48 w 67"/>
                    <a:gd name="T31" fmla="*/ 30 h 64"/>
                    <a:gd name="T32" fmla="*/ 61 w 67"/>
                    <a:gd name="T33" fmla="*/ 20 h 64"/>
                    <a:gd name="T34" fmla="*/ 51 w 67"/>
                    <a:gd name="T35" fmla="*/ 9 h 64"/>
                    <a:gd name="T36" fmla="*/ 43 w 67"/>
                    <a:gd name="T37" fmla="*/ 0 h 64"/>
                    <a:gd name="T38" fmla="*/ 30 w 67"/>
                    <a:gd name="T39" fmla="*/ 2 h 64"/>
                    <a:gd name="T40" fmla="*/ 19 w 67"/>
                    <a:gd name="T41" fmla="*/ 6 h 64"/>
                    <a:gd name="T42" fmla="*/ 7 w 67"/>
                    <a:gd name="T43" fmla="*/ 13 h 64"/>
                    <a:gd name="T44" fmla="*/ 4 w 67"/>
                    <a:gd name="T45" fmla="*/ 26 h 64"/>
                    <a:gd name="T46" fmla="*/ 7 w 67"/>
                    <a:gd name="T47" fmla="*/ 41 h 64"/>
                    <a:gd name="T48" fmla="*/ 13 w 67"/>
                    <a:gd name="T49" fmla="*/ 55 h 64"/>
                    <a:gd name="T50" fmla="*/ 24 w 67"/>
                    <a:gd name="T51" fmla="*/ 64 h 64"/>
                    <a:gd name="T52" fmla="*/ 34 w 67"/>
                    <a:gd name="T53" fmla="*/ 61 h 64"/>
                    <a:gd name="T54" fmla="*/ 44 w 67"/>
                    <a:gd name="T55" fmla="*/ 64 h 64"/>
                    <a:gd name="T56" fmla="*/ 54 w 67"/>
                    <a:gd name="T57" fmla="*/ 55 h 64"/>
                    <a:gd name="T58" fmla="*/ 61 w 67"/>
                    <a:gd name="T59" fmla="*/ 41 h 64"/>
                    <a:gd name="T60" fmla="*/ 63 w 67"/>
                    <a:gd name="T61" fmla="*/ 26 h 64"/>
                    <a:gd name="T62" fmla="*/ 58 w 67"/>
                    <a:gd name="T63" fmla="*/ 19 h 64"/>
                    <a:gd name="T64" fmla="*/ 54 w 67"/>
                    <a:gd name="T65" fmla="*/ 13 h 64"/>
                    <a:gd name="T66" fmla="*/ 46 w 67"/>
                    <a:gd name="T67" fmla="*/ 7 h 64"/>
                    <a:gd name="T68" fmla="*/ 39 w 67"/>
                    <a:gd name="T69" fmla="*/ 5 h 64"/>
                    <a:gd name="T70" fmla="*/ 29 w 67"/>
                    <a:gd name="T71" fmla="*/ 5 h 64"/>
                    <a:gd name="T72" fmla="*/ 22 w 67"/>
                    <a:gd name="T73" fmla="*/ 7 h 64"/>
                    <a:gd name="T74" fmla="*/ 18 w 67"/>
                    <a:gd name="T75" fmla="*/ 12 h 64"/>
                    <a:gd name="T76" fmla="*/ 9 w 67"/>
                    <a:gd name="T77" fmla="*/ 14 h 64"/>
                    <a:gd name="T78" fmla="*/ 6 w 67"/>
                    <a:gd name="T79" fmla="*/ 28 h 64"/>
                    <a:gd name="T80" fmla="*/ 9 w 67"/>
                    <a:gd name="T81" fmla="*/ 40 h 64"/>
                    <a:gd name="T82" fmla="*/ 9 w 67"/>
                    <a:gd name="T83" fmla="*/ 50 h 64"/>
                    <a:gd name="T84" fmla="*/ 18 w 67"/>
                    <a:gd name="T85" fmla="*/ 53 h 64"/>
                    <a:gd name="T86" fmla="*/ 24 w 67"/>
                    <a:gd name="T87" fmla="*/ 61 h 64"/>
                    <a:gd name="T88" fmla="*/ 33 w 67"/>
                    <a:gd name="T89" fmla="*/ 58 h 64"/>
                    <a:gd name="T90" fmla="*/ 43 w 67"/>
                    <a:gd name="T91" fmla="*/ 61 h 64"/>
                    <a:gd name="T92" fmla="*/ 48 w 67"/>
                    <a:gd name="T93" fmla="*/ 53 h 64"/>
                    <a:gd name="T94" fmla="*/ 10 w 67"/>
                    <a:gd name="T95" fmla="*/ 32 h 64"/>
                    <a:gd name="T96" fmla="*/ 34 w 67"/>
                    <a:gd name="T97" fmla="*/ 56 h 64"/>
                    <a:gd name="T98" fmla="*/ 49 w 67"/>
                    <a:gd name="T99" fmla="*/ 53 h 64"/>
                    <a:gd name="T100" fmla="*/ 58 w 67"/>
                    <a:gd name="T101" fmla="*/ 50 h 64"/>
                    <a:gd name="T102" fmla="*/ 60 w 67"/>
                    <a:gd name="T103" fmla="*/ 32 h 64"/>
                    <a:gd name="T104" fmla="*/ 64 w 67"/>
                    <a:gd name="T105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" h="64">
                      <a:moveTo>
                        <a:pt x="51" y="23"/>
                      </a:moveTo>
                      <a:cubicBezTo>
                        <a:pt x="51" y="22"/>
                        <a:pt x="51" y="21"/>
                        <a:pt x="50" y="21"/>
                      </a:cubicBezTo>
                      <a:cubicBezTo>
                        <a:pt x="44" y="21"/>
                        <a:pt x="44" y="21"/>
                        <a:pt x="44" y="21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20"/>
                        <a:pt x="44" y="19"/>
                        <a:pt x="43" y="19"/>
                      </a:cubicBezTo>
                      <a:cubicBezTo>
                        <a:pt x="25" y="19"/>
                        <a:pt x="25" y="19"/>
                        <a:pt x="25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4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1"/>
                        <a:pt x="16" y="22"/>
                        <a:pt x="16" y="2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3"/>
                        <a:pt x="20" y="35"/>
                        <a:pt x="22" y="37"/>
                      </a:cubicBez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24" y="37"/>
                        <a:pt x="25" y="37"/>
                        <a:pt x="26" y="36"/>
                      </a:cubicBezTo>
                      <a:cubicBezTo>
                        <a:pt x="27" y="37"/>
                        <a:pt x="28" y="38"/>
                        <a:pt x="30" y="39"/>
                      </a:cubicBezTo>
                      <a:cubicBezTo>
                        <a:pt x="30" y="39"/>
                        <a:pt x="31" y="39"/>
                        <a:pt x="31" y="40"/>
                      </a:cubicBezTo>
                      <a:cubicBezTo>
                        <a:pt x="31" y="40"/>
                        <a:pt x="32" y="41"/>
                        <a:pt x="32" y="42"/>
                      </a:cubicBezTo>
                      <a:cubicBezTo>
                        <a:pt x="32" y="45"/>
                        <a:pt x="30" y="46"/>
                        <a:pt x="30" y="46"/>
                      </a:cubicBezTo>
                      <a:cubicBezTo>
                        <a:pt x="30" y="46"/>
                        <a:pt x="28" y="47"/>
                        <a:pt x="26" y="47"/>
                      </a:cubicBezTo>
                      <a:cubicBezTo>
                        <a:pt x="26" y="47"/>
                        <a:pt x="26" y="48"/>
                        <a:pt x="26" y="48"/>
                      </a:cubicBezTo>
                      <a:cubicBezTo>
                        <a:pt x="26" y="49"/>
                        <a:pt x="26" y="49"/>
                        <a:pt x="27" y="49"/>
                      </a:cubicBezTo>
                      <a:cubicBezTo>
                        <a:pt x="41" y="49"/>
                        <a:pt x="41" y="49"/>
                        <a:pt x="41" y="49"/>
                      </a:cubicBezTo>
                      <a:cubicBezTo>
                        <a:pt x="42" y="49"/>
                        <a:pt x="42" y="49"/>
                        <a:pt x="42" y="48"/>
                      </a:cubicBezTo>
                      <a:cubicBezTo>
                        <a:pt x="42" y="48"/>
                        <a:pt x="42" y="47"/>
                        <a:pt x="42" y="47"/>
                      </a:cubicBezTo>
                      <a:cubicBezTo>
                        <a:pt x="40" y="47"/>
                        <a:pt x="38" y="46"/>
                        <a:pt x="38" y="46"/>
                      </a:cubicBezTo>
                      <a:cubicBezTo>
                        <a:pt x="37" y="46"/>
                        <a:pt x="36" y="45"/>
                        <a:pt x="36" y="42"/>
                      </a:cubicBezTo>
                      <a:cubicBezTo>
                        <a:pt x="36" y="41"/>
                        <a:pt x="37" y="40"/>
                        <a:pt x="37" y="39"/>
                      </a:cubicBezTo>
                      <a:cubicBezTo>
                        <a:pt x="37" y="39"/>
                        <a:pt x="38" y="39"/>
                        <a:pt x="38" y="39"/>
                      </a:cubicBezTo>
                      <a:cubicBezTo>
                        <a:pt x="40" y="38"/>
                        <a:pt x="41" y="37"/>
                        <a:pt x="42" y="36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45" y="37"/>
                        <a:pt x="45" y="37"/>
                        <a:pt x="46" y="37"/>
                      </a:cubicBezTo>
                      <a:cubicBezTo>
                        <a:pt x="48" y="35"/>
                        <a:pt x="51" y="33"/>
                        <a:pt x="51" y="30"/>
                      </a:cubicBezTo>
                      <a:lnTo>
                        <a:pt x="51" y="23"/>
                      </a:lnTo>
                      <a:close/>
                      <a:moveTo>
                        <a:pt x="23" y="34"/>
                      </a:moveTo>
                      <a:cubicBezTo>
                        <a:pt x="19" y="31"/>
                        <a:pt x="19" y="30"/>
                        <a:pt x="19" y="30"/>
                      </a:cubicBez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4" y="32"/>
                        <a:pt x="24" y="33"/>
                        <a:pt x="24" y="33"/>
                      </a:cubicBezTo>
                      <a:cubicBezTo>
                        <a:pt x="24" y="34"/>
                        <a:pt x="24" y="34"/>
                        <a:pt x="23" y="34"/>
                      </a:cubicBezTo>
                      <a:close/>
                      <a:moveTo>
                        <a:pt x="48" y="30"/>
                      </a:moveTo>
                      <a:cubicBezTo>
                        <a:pt x="48" y="30"/>
                        <a:pt x="48" y="31"/>
                        <a:pt x="44" y="34"/>
                      </a:cubicBezTo>
                      <a:cubicBezTo>
                        <a:pt x="44" y="34"/>
                        <a:pt x="44" y="34"/>
                        <a:pt x="44" y="33"/>
                      </a:cubicBezTo>
                      <a:cubicBezTo>
                        <a:pt x="44" y="33"/>
                        <a:pt x="44" y="32"/>
                        <a:pt x="44" y="31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lnTo>
                        <a:pt x="48" y="30"/>
                      </a:lnTo>
                      <a:close/>
                      <a:moveTo>
                        <a:pt x="63" y="26"/>
                      </a:moveTo>
                      <a:cubicBezTo>
                        <a:pt x="62" y="25"/>
                        <a:pt x="61" y="24"/>
                        <a:pt x="61" y="24"/>
                      </a:cubicBezTo>
                      <a:cubicBezTo>
                        <a:pt x="61" y="23"/>
                        <a:pt x="61" y="21"/>
                        <a:pt x="61" y="20"/>
                      </a:cubicBezTo>
                      <a:cubicBezTo>
                        <a:pt x="62" y="17"/>
                        <a:pt x="62" y="15"/>
                        <a:pt x="61" y="13"/>
                      </a:cubicBezTo>
                      <a:cubicBezTo>
                        <a:pt x="59" y="11"/>
                        <a:pt x="57" y="10"/>
                        <a:pt x="54" y="10"/>
                      </a:cubicBezTo>
                      <a:cubicBezTo>
                        <a:pt x="53" y="10"/>
                        <a:pt x="51" y="10"/>
                        <a:pt x="51" y="9"/>
                      </a:cubicBezTo>
                      <a:cubicBezTo>
                        <a:pt x="50" y="9"/>
                        <a:pt x="49" y="7"/>
                        <a:pt x="49" y="6"/>
                      </a:cubicBezTo>
                      <a:cubicBezTo>
                        <a:pt x="48" y="4"/>
                        <a:pt x="47" y="1"/>
                        <a:pt x="44" y="1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41" y="0"/>
                        <a:pt x="39" y="1"/>
                        <a:pt x="37" y="2"/>
                      </a:cubicBezTo>
                      <a:cubicBezTo>
                        <a:pt x="36" y="3"/>
                        <a:pt x="35" y="4"/>
                        <a:pt x="34" y="4"/>
                      </a:cubicBezTo>
                      <a:cubicBezTo>
                        <a:pt x="33" y="4"/>
                        <a:pt x="32" y="3"/>
                        <a:pt x="30" y="2"/>
                      </a:cubicBezTo>
                      <a:cubicBezTo>
                        <a:pt x="29" y="1"/>
                        <a:pt x="27" y="0"/>
                        <a:pt x="25" y="0"/>
                      </a:cubicBezTo>
                      <a:cubicBezTo>
                        <a:pt x="25" y="0"/>
                        <a:pt x="24" y="0"/>
                        <a:pt x="24" y="1"/>
                      </a:cubicBezTo>
                      <a:cubicBezTo>
                        <a:pt x="21" y="1"/>
                        <a:pt x="20" y="4"/>
                        <a:pt x="19" y="6"/>
                      </a:cubicBezTo>
                      <a:cubicBezTo>
                        <a:pt x="18" y="7"/>
                        <a:pt x="18" y="9"/>
                        <a:pt x="17" y="9"/>
                      </a:cubicBezTo>
                      <a:cubicBezTo>
                        <a:pt x="16" y="10"/>
                        <a:pt x="15" y="10"/>
                        <a:pt x="13" y="10"/>
                      </a:cubicBezTo>
                      <a:cubicBezTo>
                        <a:pt x="11" y="10"/>
                        <a:pt x="8" y="11"/>
                        <a:pt x="7" y="13"/>
                      </a:cubicBezTo>
                      <a:cubicBezTo>
                        <a:pt x="5" y="15"/>
                        <a:pt x="6" y="17"/>
                        <a:pt x="6" y="20"/>
                      </a:cubicBezTo>
                      <a:cubicBezTo>
                        <a:pt x="7" y="21"/>
                        <a:pt x="7" y="23"/>
                        <a:pt x="7" y="24"/>
                      </a:cubicBezTo>
                      <a:cubicBezTo>
                        <a:pt x="7" y="24"/>
                        <a:pt x="5" y="25"/>
                        <a:pt x="4" y="26"/>
                      </a:cubicBezTo>
                      <a:cubicBezTo>
                        <a:pt x="3" y="28"/>
                        <a:pt x="0" y="30"/>
                        <a:pt x="0" y="32"/>
                      </a:cubicBezTo>
                      <a:cubicBezTo>
                        <a:pt x="0" y="35"/>
                        <a:pt x="3" y="37"/>
                        <a:pt x="4" y="38"/>
                      </a:cubicBezTo>
                      <a:cubicBezTo>
                        <a:pt x="5" y="39"/>
                        <a:pt x="7" y="40"/>
                        <a:pt x="7" y="41"/>
                      </a:cubicBezTo>
                      <a:cubicBezTo>
                        <a:pt x="7" y="42"/>
                        <a:pt x="7" y="44"/>
                        <a:pt x="6" y="45"/>
                      </a:cubicBezTo>
                      <a:cubicBezTo>
                        <a:pt x="6" y="47"/>
                        <a:pt x="5" y="50"/>
                        <a:pt x="7" y="52"/>
                      </a:cubicBezTo>
                      <a:cubicBezTo>
                        <a:pt x="8" y="54"/>
                        <a:pt x="11" y="54"/>
                        <a:pt x="13" y="55"/>
                      </a:cubicBezTo>
                      <a:cubicBezTo>
                        <a:pt x="15" y="55"/>
                        <a:pt x="16" y="55"/>
                        <a:pt x="17" y="55"/>
                      </a:cubicBezTo>
                      <a:cubicBezTo>
                        <a:pt x="18" y="56"/>
                        <a:pt x="18" y="57"/>
                        <a:pt x="19" y="59"/>
                      </a:cubicBezTo>
                      <a:cubicBezTo>
                        <a:pt x="20" y="61"/>
                        <a:pt x="21" y="63"/>
                        <a:pt x="24" y="64"/>
                      </a:cubicBezTo>
                      <a:cubicBezTo>
                        <a:pt x="24" y="64"/>
                        <a:pt x="25" y="64"/>
                        <a:pt x="25" y="64"/>
                      </a:cubicBezTo>
                      <a:cubicBezTo>
                        <a:pt x="27" y="64"/>
                        <a:pt x="29" y="63"/>
                        <a:pt x="30" y="62"/>
                      </a:cubicBezTo>
                      <a:cubicBezTo>
                        <a:pt x="32" y="62"/>
                        <a:pt x="33" y="61"/>
                        <a:pt x="34" y="61"/>
                      </a:cubicBezTo>
                      <a:cubicBezTo>
                        <a:pt x="35" y="61"/>
                        <a:pt x="36" y="62"/>
                        <a:pt x="37" y="62"/>
                      </a:cubicBezTo>
                      <a:cubicBezTo>
                        <a:pt x="39" y="63"/>
                        <a:pt x="41" y="64"/>
                        <a:pt x="43" y="64"/>
                      </a:cubicBezTo>
                      <a:cubicBezTo>
                        <a:pt x="43" y="64"/>
                        <a:pt x="44" y="64"/>
                        <a:pt x="44" y="64"/>
                      </a:cubicBezTo>
                      <a:cubicBezTo>
                        <a:pt x="47" y="63"/>
                        <a:pt x="48" y="61"/>
                        <a:pt x="49" y="59"/>
                      </a:cubicBezTo>
                      <a:cubicBezTo>
                        <a:pt x="49" y="57"/>
                        <a:pt x="50" y="56"/>
                        <a:pt x="51" y="55"/>
                      </a:cubicBezTo>
                      <a:cubicBezTo>
                        <a:pt x="51" y="55"/>
                        <a:pt x="53" y="55"/>
                        <a:pt x="54" y="55"/>
                      </a:cubicBezTo>
                      <a:cubicBezTo>
                        <a:pt x="57" y="54"/>
                        <a:pt x="59" y="54"/>
                        <a:pt x="61" y="52"/>
                      </a:cubicBezTo>
                      <a:cubicBezTo>
                        <a:pt x="62" y="50"/>
                        <a:pt x="62" y="47"/>
                        <a:pt x="61" y="45"/>
                      </a:cubicBezTo>
                      <a:cubicBezTo>
                        <a:pt x="61" y="44"/>
                        <a:pt x="61" y="42"/>
                        <a:pt x="61" y="41"/>
                      </a:cubicBezTo>
                      <a:cubicBezTo>
                        <a:pt x="61" y="40"/>
                        <a:pt x="62" y="39"/>
                        <a:pt x="63" y="38"/>
                      </a:cubicBezTo>
                      <a:cubicBezTo>
                        <a:pt x="65" y="37"/>
                        <a:pt x="67" y="35"/>
                        <a:pt x="67" y="32"/>
                      </a:cubicBezTo>
                      <a:cubicBezTo>
                        <a:pt x="67" y="30"/>
                        <a:pt x="65" y="28"/>
                        <a:pt x="63" y="26"/>
                      </a:cubicBezTo>
                      <a:close/>
                      <a:moveTo>
                        <a:pt x="54" y="13"/>
                      </a:moveTo>
                      <a:cubicBezTo>
                        <a:pt x="56" y="13"/>
                        <a:pt x="58" y="13"/>
                        <a:pt x="58" y="14"/>
                      </a:cubicBezTo>
                      <a:cubicBezTo>
                        <a:pt x="59" y="15"/>
                        <a:pt x="59" y="17"/>
                        <a:pt x="58" y="19"/>
                      </a:cubicBezTo>
                      <a:cubicBezTo>
                        <a:pt x="58" y="21"/>
                        <a:pt x="58" y="22"/>
                        <a:pt x="58" y="24"/>
                      </a:cubicBezTo>
                      <a:cubicBezTo>
                        <a:pt x="56" y="19"/>
                        <a:pt x="53" y="15"/>
                        <a:pt x="49" y="12"/>
                      </a:cubicBezTo>
                      <a:cubicBezTo>
                        <a:pt x="51" y="13"/>
                        <a:pt x="52" y="13"/>
                        <a:pt x="54" y="13"/>
                      </a:cubicBezTo>
                      <a:close/>
                      <a:moveTo>
                        <a:pt x="39" y="5"/>
                      </a:moveTo>
                      <a:cubicBezTo>
                        <a:pt x="41" y="4"/>
                        <a:pt x="42" y="3"/>
                        <a:pt x="43" y="3"/>
                      </a:cubicBezTo>
                      <a:cubicBezTo>
                        <a:pt x="44" y="4"/>
                        <a:pt x="45" y="6"/>
                        <a:pt x="46" y="7"/>
                      </a:cubicBezTo>
                      <a:cubicBezTo>
                        <a:pt x="47" y="9"/>
                        <a:pt x="47" y="10"/>
                        <a:pt x="48" y="11"/>
                      </a:cubicBezTo>
                      <a:cubicBezTo>
                        <a:pt x="44" y="8"/>
                        <a:pt x="40" y="7"/>
                        <a:pt x="35" y="7"/>
                      </a:cubicBezTo>
                      <a:cubicBezTo>
                        <a:pt x="36" y="6"/>
                        <a:pt x="38" y="6"/>
                        <a:pt x="39" y="5"/>
                      </a:cubicBezTo>
                      <a:close/>
                      <a:moveTo>
                        <a:pt x="22" y="7"/>
                      </a:moveTo>
                      <a:cubicBezTo>
                        <a:pt x="22" y="6"/>
                        <a:pt x="23" y="4"/>
                        <a:pt x="24" y="3"/>
                      </a:cubicBezTo>
                      <a:cubicBezTo>
                        <a:pt x="26" y="3"/>
                        <a:pt x="27" y="4"/>
                        <a:pt x="29" y="5"/>
                      </a:cubicBezTo>
                      <a:cubicBezTo>
                        <a:pt x="30" y="6"/>
                        <a:pt x="32" y="6"/>
                        <a:pt x="33" y="7"/>
                      </a:cubicBezTo>
                      <a:cubicBezTo>
                        <a:pt x="28" y="7"/>
                        <a:pt x="23" y="8"/>
                        <a:pt x="19" y="11"/>
                      </a:cubicBezTo>
                      <a:cubicBezTo>
                        <a:pt x="20" y="10"/>
                        <a:pt x="21" y="9"/>
                        <a:pt x="22" y="7"/>
                      </a:cubicBezTo>
                      <a:close/>
                      <a:moveTo>
                        <a:pt x="9" y="14"/>
                      </a:moveTo>
                      <a:cubicBezTo>
                        <a:pt x="10" y="13"/>
                        <a:pt x="12" y="13"/>
                        <a:pt x="14" y="13"/>
                      </a:cubicBezTo>
                      <a:cubicBezTo>
                        <a:pt x="15" y="13"/>
                        <a:pt x="17" y="13"/>
                        <a:pt x="18" y="12"/>
                      </a:cubicBezTo>
                      <a:cubicBezTo>
                        <a:pt x="14" y="15"/>
                        <a:pt x="11" y="19"/>
                        <a:pt x="10" y="24"/>
                      </a:cubicBezTo>
                      <a:cubicBezTo>
                        <a:pt x="10" y="22"/>
                        <a:pt x="10" y="21"/>
                        <a:pt x="9" y="19"/>
                      </a:cubicBezTo>
                      <a:cubicBezTo>
                        <a:pt x="9" y="17"/>
                        <a:pt x="9" y="15"/>
                        <a:pt x="9" y="14"/>
                      </a:cubicBezTo>
                      <a:close/>
                      <a:moveTo>
                        <a:pt x="6" y="36"/>
                      </a:moveTo>
                      <a:cubicBezTo>
                        <a:pt x="5" y="35"/>
                        <a:pt x="3" y="34"/>
                        <a:pt x="3" y="32"/>
                      </a:cubicBezTo>
                      <a:cubicBezTo>
                        <a:pt x="3" y="31"/>
                        <a:pt x="5" y="30"/>
                        <a:pt x="6" y="28"/>
                      </a:cubicBezTo>
                      <a:cubicBezTo>
                        <a:pt x="8" y="27"/>
                        <a:pt x="9" y="26"/>
                        <a:pt x="9" y="25"/>
                      </a:cubicBezTo>
                      <a:cubicBezTo>
                        <a:pt x="9" y="27"/>
                        <a:pt x="8" y="30"/>
                        <a:pt x="8" y="32"/>
                      </a:cubicBezTo>
                      <a:cubicBezTo>
                        <a:pt x="8" y="35"/>
                        <a:pt x="9" y="37"/>
                        <a:pt x="9" y="40"/>
                      </a:cubicBezTo>
                      <a:cubicBezTo>
                        <a:pt x="9" y="38"/>
                        <a:pt x="8" y="37"/>
                        <a:pt x="6" y="36"/>
                      </a:cubicBezTo>
                      <a:close/>
                      <a:moveTo>
                        <a:pt x="14" y="52"/>
                      </a:moveTo>
                      <a:cubicBezTo>
                        <a:pt x="12" y="51"/>
                        <a:pt x="10" y="51"/>
                        <a:pt x="9" y="50"/>
                      </a:cubicBezTo>
                      <a:cubicBezTo>
                        <a:pt x="9" y="49"/>
                        <a:pt x="9" y="47"/>
                        <a:pt x="9" y="46"/>
                      </a:cubicBezTo>
                      <a:cubicBezTo>
                        <a:pt x="10" y="44"/>
                        <a:pt x="10" y="42"/>
                        <a:pt x="10" y="41"/>
                      </a:cubicBezTo>
                      <a:cubicBezTo>
                        <a:pt x="11" y="46"/>
                        <a:pt x="14" y="50"/>
                        <a:pt x="18" y="53"/>
                      </a:cubicBezTo>
                      <a:cubicBezTo>
                        <a:pt x="17" y="52"/>
                        <a:pt x="15" y="52"/>
                        <a:pt x="14" y="52"/>
                      </a:cubicBezTo>
                      <a:close/>
                      <a:moveTo>
                        <a:pt x="29" y="60"/>
                      </a:moveTo>
                      <a:cubicBezTo>
                        <a:pt x="27" y="61"/>
                        <a:pt x="26" y="62"/>
                        <a:pt x="24" y="61"/>
                      </a:cubicBezTo>
                      <a:cubicBezTo>
                        <a:pt x="23" y="61"/>
                        <a:pt x="22" y="59"/>
                        <a:pt x="22" y="57"/>
                      </a:cubicBezTo>
                      <a:cubicBezTo>
                        <a:pt x="21" y="56"/>
                        <a:pt x="20" y="54"/>
                        <a:pt x="19" y="53"/>
                      </a:cubicBezTo>
                      <a:cubicBezTo>
                        <a:pt x="23" y="56"/>
                        <a:pt x="28" y="58"/>
                        <a:pt x="33" y="58"/>
                      </a:cubicBezTo>
                      <a:cubicBezTo>
                        <a:pt x="32" y="58"/>
                        <a:pt x="30" y="59"/>
                        <a:pt x="29" y="60"/>
                      </a:cubicBezTo>
                      <a:close/>
                      <a:moveTo>
                        <a:pt x="46" y="57"/>
                      </a:moveTo>
                      <a:cubicBezTo>
                        <a:pt x="45" y="59"/>
                        <a:pt x="44" y="61"/>
                        <a:pt x="43" y="61"/>
                      </a:cubicBezTo>
                      <a:cubicBezTo>
                        <a:pt x="42" y="62"/>
                        <a:pt x="41" y="61"/>
                        <a:pt x="39" y="60"/>
                      </a:cubicBezTo>
                      <a:cubicBezTo>
                        <a:pt x="37" y="59"/>
                        <a:pt x="36" y="58"/>
                        <a:pt x="35" y="58"/>
                      </a:cubicBezTo>
                      <a:cubicBezTo>
                        <a:pt x="40" y="58"/>
                        <a:pt x="44" y="56"/>
                        <a:pt x="48" y="53"/>
                      </a:cubicBezTo>
                      <a:cubicBezTo>
                        <a:pt x="47" y="54"/>
                        <a:pt x="47" y="56"/>
                        <a:pt x="46" y="57"/>
                      </a:cubicBezTo>
                      <a:close/>
                      <a:moveTo>
                        <a:pt x="34" y="56"/>
                      </a:moveTo>
                      <a:cubicBezTo>
                        <a:pt x="21" y="56"/>
                        <a:pt x="10" y="45"/>
                        <a:pt x="10" y="32"/>
                      </a:cubicBezTo>
                      <a:cubicBezTo>
                        <a:pt x="10" y="19"/>
                        <a:pt x="21" y="9"/>
                        <a:pt x="34" y="9"/>
                      </a:cubicBezTo>
                      <a:cubicBezTo>
                        <a:pt x="47" y="9"/>
                        <a:pt x="58" y="19"/>
                        <a:pt x="58" y="32"/>
                      </a:cubicBezTo>
                      <a:cubicBezTo>
                        <a:pt x="58" y="45"/>
                        <a:pt x="47" y="56"/>
                        <a:pt x="34" y="56"/>
                      </a:cubicBezTo>
                      <a:close/>
                      <a:moveTo>
                        <a:pt x="58" y="50"/>
                      </a:moveTo>
                      <a:cubicBezTo>
                        <a:pt x="58" y="51"/>
                        <a:pt x="56" y="51"/>
                        <a:pt x="54" y="52"/>
                      </a:cubicBezTo>
                      <a:cubicBezTo>
                        <a:pt x="52" y="52"/>
                        <a:pt x="51" y="52"/>
                        <a:pt x="49" y="53"/>
                      </a:cubicBezTo>
                      <a:cubicBezTo>
                        <a:pt x="53" y="50"/>
                        <a:pt x="56" y="46"/>
                        <a:pt x="58" y="41"/>
                      </a:cubicBezTo>
                      <a:cubicBezTo>
                        <a:pt x="58" y="42"/>
                        <a:pt x="58" y="44"/>
                        <a:pt x="58" y="46"/>
                      </a:cubicBezTo>
                      <a:cubicBezTo>
                        <a:pt x="59" y="47"/>
                        <a:pt x="59" y="49"/>
                        <a:pt x="58" y="50"/>
                      </a:cubicBezTo>
                      <a:close/>
                      <a:moveTo>
                        <a:pt x="61" y="36"/>
                      </a:moveTo>
                      <a:cubicBezTo>
                        <a:pt x="60" y="37"/>
                        <a:pt x="59" y="38"/>
                        <a:pt x="58" y="40"/>
                      </a:cubicBezTo>
                      <a:cubicBezTo>
                        <a:pt x="59" y="37"/>
                        <a:pt x="60" y="35"/>
                        <a:pt x="60" y="32"/>
                      </a:cubicBezTo>
                      <a:cubicBezTo>
                        <a:pt x="60" y="30"/>
                        <a:pt x="59" y="27"/>
                        <a:pt x="58" y="25"/>
                      </a:cubicBezTo>
                      <a:cubicBezTo>
                        <a:pt x="59" y="26"/>
                        <a:pt x="60" y="27"/>
                        <a:pt x="61" y="28"/>
                      </a:cubicBezTo>
                      <a:cubicBezTo>
                        <a:pt x="63" y="30"/>
                        <a:pt x="64" y="31"/>
                        <a:pt x="64" y="32"/>
                      </a:cubicBezTo>
                      <a:cubicBezTo>
                        <a:pt x="64" y="34"/>
                        <a:pt x="63" y="35"/>
                        <a:pt x="6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3" name="Freeform 38">
                  <a:extLst>
                    <a:ext uri="{FF2B5EF4-FFF2-40B4-BE49-F238E27FC236}">
                      <a16:creationId xmlns:a16="http://schemas.microsoft.com/office/drawing/2014/main" id="{5C3378BF-DAEB-4F4E-AED4-D18A39902B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10410" y="2708898"/>
                  <a:ext cx="301764" cy="268451"/>
                </a:xfrm>
                <a:custGeom>
                  <a:avLst/>
                  <a:gdLst>
                    <a:gd name="T0" fmla="*/ 63 w 65"/>
                    <a:gd name="T1" fmla="*/ 24 h 58"/>
                    <a:gd name="T2" fmla="*/ 49 w 65"/>
                    <a:gd name="T3" fmla="*/ 22 h 58"/>
                    <a:gd name="T4" fmla="*/ 42 w 65"/>
                    <a:gd name="T5" fmla="*/ 16 h 58"/>
                    <a:gd name="T6" fmla="*/ 32 w 65"/>
                    <a:gd name="T7" fmla="*/ 6 h 58"/>
                    <a:gd name="T8" fmla="*/ 24 w 65"/>
                    <a:gd name="T9" fmla="*/ 0 h 58"/>
                    <a:gd name="T10" fmla="*/ 24 w 65"/>
                    <a:gd name="T11" fmla="*/ 23 h 58"/>
                    <a:gd name="T12" fmla="*/ 21 w 65"/>
                    <a:gd name="T13" fmla="*/ 22 h 58"/>
                    <a:gd name="T14" fmla="*/ 3 w 65"/>
                    <a:gd name="T15" fmla="*/ 28 h 58"/>
                    <a:gd name="T16" fmla="*/ 0 w 65"/>
                    <a:gd name="T17" fmla="*/ 34 h 58"/>
                    <a:gd name="T18" fmla="*/ 2 w 65"/>
                    <a:gd name="T19" fmla="*/ 41 h 58"/>
                    <a:gd name="T20" fmla="*/ 5 w 65"/>
                    <a:gd name="T21" fmla="*/ 48 h 58"/>
                    <a:gd name="T22" fmla="*/ 10 w 65"/>
                    <a:gd name="T23" fmla="*/ 55 h 58"/>
                    <a:gd name="T24" fmla="*/ 35 w 65"/>
                    <a:gd name="T25" fmla="*/ 57 h 58"/>
                    <a:gd name="T26" fmla="*/ 45 w 65"/>
                    <a:gd name="T27" fmla="*/ 55 h 58"/>
                    <a:gd name="T28" fmla="*/ 60 w 65"/>
                    <a:gd name="T29" fmla="*/ 57 h 58"/>
                    <a:gd name="T30" fmla="*/ 64 w 65"/>
                    <a:gd name="T31" fmla="*/ 26 h 58"/>
                    <a:gd name="T32" fmla="*/ 9 w 65"/>
                    <a:gd name="T33" fmla="*/ 25 h 58"/>
                    <a:gd name="T34" fmla="*/ 24 w 65"/>
                    <a:gd name="T35" fmla="*/ 28 h 58"/>
                    <a:gd name="T36" fmla="*/ 9 w 65"/>
                    <a:gd name="T37" fmla="*/ 30 h 58"/>
                    <a:gd name="T38" fmla="*/ 9 w 65"/>
                    <a:gd name="T39" fmla="*/ 25 h 58"/>
                    <a:gd name="T40" fmla="*/ 18 w 65"/>
                    <a:gd name="T41" fmla="*/ 32 h 58"/>
                    <a:gd name="T42" fmla="*/ 18 w 65"/>
                    <a:gd name="T43" fmla="*/ 37 h 58"/>
                    <a:gd name="T44" fmla="*/ 6 w 65"/>
                    <a:gd name="T45" fmla="*/ 37 h 58"/>
                    <a:gd name="T46" fmla="*/ 6 w 65"/>
                    <a:gd name="T47" fmla="*/ 32 h 58"/>
                    <a:gd name="T48" fmla="*/ 18 w 65"/>
                    <a:gd name="T49" fmla="*/ 39 h 58"/>
                    <a:gd name="T50" fmla="*/ 23 w 65"/>
                    <a:gd name="T51" fmla="*/ 41 h 58"/>
                    <a:gd name="T52" fmla="*/ 11 w 65"/>
                    <a:gd name="T53" fmla="*/ 43 h 58"/>
                    <a:gd name="T54" fmla="*/ 5 w 65"/>
                    <a:gd name="T55" fmla="*/ 41 h 58"/>
                    <a:gd name="T56" fmla="*/ 11 w 65"/>
                    <a:gd name="T57" fmla="*/ 45 h 58"/>
                    <a:gd name="T58" fmla="*/ 23 w 65"/>
                    <a:gd name="T59" fmla="*/ 45 h 58"/>
                    <a:gd name="T60" fmla="*/ 23 w 65"/>
                    <a:gd name="T61" fmla="*/ 50 h 58"/>
                    <a:gd name="T62" fmla="*/ 8 w 65"/>
                    <a:gd name="T63" fmla="*/ 48 h 58"/>
                    <a:gd name="T64" fmla="*/ 23 w 65"/>
                    <a:gd name="T65" fmla="*/ 52 h 58"/>
                    <a:gd name="T66" fmla="*/ 24 w 65"/>
                    <a:gd name="T67" fmla="*/ 44 h 58"/>
                    <a:gd name="T68" fmla="*/ 22 w 65"/>
                    <a:gd name="T69" fmla="*/ 37 h 58"/>
                    <a:gd name="T70" fmla="*/ 21 w 65"/>
                    <a:gd name="T71" fmla="*/ 32 h 58"/>
                    <a:gd name="T72" fmla="*/ 26 w 65"/>
                    <a:gd name="T73" fmla="*/ 26 h 58"/>
                    <a:gd name="T74" fmla="*/ 28 w 65"/>
                    <a:gd name="T75" fmla="*/ 31 h 58"/>
                    <a:gd name="T76" fmla="*/ 39 w 65"/>
                    <a:gd name="T77" fmla="*/ 40 h 58"/>
                    <a:gd name="T78" fmla="*/ 30 w 65"/>
                    <a:gd name="T79" fmla="*/ 31 h 58"/>
                    <a:gd name="T80" fmla="*/ 29 w 65"/>
                    <a:gd name="T81" fmla="*/ 24 h 58"/>
                    <a:gd name="T82" fmla="*/ 29 w 65"/>
                    <a:gd name="T83" fmla="*/ 24 h 58"/>
                    <a:gd name="T84" fmla="*/ 22 w 65"/>
                    <a:gd name="T85" fmla="*/ 8 h 58"/>
                    <a:gd name="T86" fmla="*/ 28 w 65"/>
                    <a:gd name="T87" fmla="*/ 4 h 58"/>
                    <a:gd name="T88" fmla="*/ 32 w 65"/>
                    <a:gd name="T89" fmla="*/ 14 h 58"/>
                    <a:gd name="T90" fmla="*/ 43 w 65"/>
                    <a:gd name="T91" fmla="*/ 20 h 58"/>
                    <a:gd name="T92" fmla="*/ 46 w 65"/>
                    <a:gd name="T93" fmla="*/ 50 h 58"/>
                    <a:gd name="T94" fmla="*/ 12 w 65"/>
                    <a:gd name="T95" fmla="*/ 52 h 58"/>
                    <a:gd name="T96" fmla="*/ 23 w 65"/>
                    <a:gd name="T97" fmla="*/ 52 h 58"/>
                    <a:gd name="T98" fmla="*/ 61 w 65"/>
                    <a:gd name="T99" fmla="*/ 27 h 58"/>
                    <a:gd name="T100" fmla="*/ 48 w 65"/>
                    <a:gd name="T101" fmla="*/ 53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5" h="58">
                      <a:moveTo>
                        <a:pt x="64" y="24"/>
                      </a:moveTo>
                      <a:cubicBezTo>
                        <a:pt x="64" y="24"/>
                        <a:pt x="63" y="24"/>
                        <a:pt x="63" y="24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7" y="20"/>
                        <a:pt x="46" y="18"/>
                        <a:pt x="45" y="18"/>
                      </a:cubicBezTo>
                      <a:cubicBezTo>
                        <a:pt x="44" y="17"/>
                        <a:pt x="43" y="17"/>
                        <a:pt x="42" y="16"/>
                      </a:cubicBezTo>
                      <a:cubicBezTo>
                        <a:pt x="39" y="15"/>
                        <a:pt x="37" y="14"/>
                        <a:pt x="35" y="12"/>
                      </a:cubicBezTo>
                      <a:cubicBezTo>
                        <a:pt x="33" y="10"/>
                        <a:pt x="32" y="8"/>
                        <a:pt x="32" y="6"/>
                      </a:cubicBezTo>
                      <a:cubicBezTo>
                        <a:pt x="31" y="4"/>
                        <a:pt x="31" y="2"/>
                        <a:pt x="30" y="1"/>
                      </a:cubicBezTo>
                      <a:cubicBezTo>
                        <a:pt x="28" y="0"/>
                        <a:pt x="26" y="0"/>
                        <a:pt x="24" y="0"/>
                      </a:cubicBezTo>
                      <a:cubicBezTo>
                        <a:pt x="22" y="1"/>
                        <a:pt x="20" y="4"/>
                        <a:pt x="20" y="7"/>
                      </a:cubicBezTo>
                      <a:cubicBezTo>
                        <a:pt x="19" y="14"/>
                        <a:pt x="22" y="19"/>
                        <a:pt x="24" y="23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3" y="22"/>
                        <a:pt x="22" y="22"/>
                        <a:pt x="21" y="22"/>
                      </a:cubicBezTo>
                      <a:cubicBezTo>
                        <a:pt x="9" y="22"/>
                        <a:pt x="9" y="22"/>
                        <a:pt x="9" y="22"/>
                      </a:cubicBezTo>
                      <a:cubicBezTo>
                        <a:pt x="6" y="22"/>
                        <a:pt x="3" y="25"/>
                        <a:pt x="3" y="28"/>
                      </a:cubicBezTo>
                      <a:cubicBezTo>
                        <a:pt x="3" y="28"/>
                        <a:pt x="3" y="29"/>
                        <a:pt x="4" y="29"/>
                      </a:cubicBezTo>
                      <a:cubicBezTo>
                        <a:pt x="1" y="30"/>
                        <a:pt x="0" y="32"/>
                        <a:pt x="0" y="34"/>
                      </a:cubicBezTo>
                      <a:cubicBezTo>
                        <a:pt x="0" y="36"/>
                        <a:pt x="1" y="38"/>
                        <a:pt x="2" y="39"/>
                      </a:cubicBezTo>
                      <a:cubicBezTo>
                        <a:pt x="2" y="40"/>
                        <a:pt x="2" y="40"/>
                        <a:pt x="2" y="41"/>
                      </a:cubicBezTo>
                      <a:cubicBezTo>
                        <a:pt x="2" y="43"/>
                        <a:pt x="3" y="45"/>
                        <a:pt x="5" y="46"/>
                      </a:cubicBezTo>
                      <a:cubicBezTo>
                        <a:pt x="5" y="46"/>
                        <a:pt x="5" y="47"/>
                        <a:pt x="5" y="48"/>
                      </a:cubicBezTo>
                      <a:cubicBezTo>
                        <a:pt x="5" y="50"/>
                        <a:pt x="6" y="52"/>
                        <a:pt x="8" y="53"/>
                      </a:cubicBezTo>
                      <a:cubicBezTo>
                        <a:pt x="9" y="53"/>
                        <a:pt x="9" y="54"/>
                        <a:pt x="10" y="55"/>
                      </a:cubicBezTo>
                      <a:cubicBezTo>
                        <a:pt x="13" y="57"/>
                        <a:pt x="24" y="58"/>
                        <a:pt x="30" y="58"/>
                      </a:cubicBezTo>
                      <a:cubicBezTo>
                        <a:pt x="32" y="58"/>
                        <a:pt x="34" y="58"/>
                        <a:pt x="35" y="57"/>
                      </a:cubicBezTo>
                      <a:cubicBezTo>
                        <a:pt x="38" y="57"/>
                        <a:pt x="41" y="56"/>
                        <a:pt x="45" y="54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6"/>
                        <a:pt x="46" y="56"/>
                        <a:pt x="46" y="56"/>
                      </a:cubicBezTo>
                      <a:cubicBezTo>
                        <a:pt x="60" y="57"/>
                        <a:pt x="60" y="57"/>
                        <a:pt x="60" y="57"/>
                      </a:cubicBezTo>
                      <a:cubicBezTo>
                        <a:pt x="61" y="57"/>
                        <a:pt x="62" y="56"/>
                        <a:pt x="62" y="55"/>
                      </a:cubicBezTo>
                      <a:cubicBezTo>
                        <a:pt x="64" y="26"/>
                        <a:pt x="64" y="26"/>
                        <a:pt x="64" y="26"/>
                      </a:cubicBezTo>
                      <a:cubicBezTo>
                        <a:pt x="65" y="25"/>
                        <a:pt x="64" y="25"/>
                        <a:pt x="64" y="24"/>
                      </a:cubicBezTo>
                      <a:close/>
                      <a:moveTo>
                        <a:pt x="9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3" y="25"/>
                        <a:pt x="24" y="26"/>
                        <a:pt x="24" y="28"/>
                      </a:cubicBezTo>
                      <a:cubicBezTo>
                        <a:pt x="24" y="29"/>
                        <a:pt x="23" y="30"/>
                        <a:pt x="21" y="30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30"/>
                        <a:pt x="6" y="29"/>
                        <a:pt x="6" y="28"/>
                      </a:cubicBezTo>
                      <a:cubicBezTo>
                        <a:pt x="6" y="26"/>
                        <a:pt x="8" y="25"/>
                        <a:pt x="9" y="25"/>
                      </a:cubicBezTo>
                      <a:close/>
                      <a:moveTo>
                        <a:pt x="6" y="32"/>
                      </a:move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9" y="32"/>
                        <a:pt x="21" y="33"/>
                        <a:pt x="21" y="34"/>
                      </a:cubicBezTo>
                      <a:cubicBezTo>
                        <a:pt x="21" y="36"/>
                        <a:pt x="19" y="37"/>
                        <a:pt x="18" y="37"/>
                      </a:cubicBezTo>
                      <a:cubicBezTo>
                        <a:pt x="8" y="37"/>
                        <a:pt x="8" y="37"/>
                        <a:pt x="8" y="37"/>
                      </a:cubicBezTo>
                      <a:cubicBezTo>
                        <a:pt x="6" y="37"/>
                        <a:pt x="6" y="37"/>
                        <a:pt x="6" y="37"/>
                      </a:cubicBezTo>
                      <a:cubicBezTo>
                        <a:pt x="4" y="37"/>
                        <a:pt x="3" y="36"/>
                        <a:pt x="3" y="34"/>
                      </a:cubicBezTo>
                      <a:cubicBezTo>
                        <a:pt x="3" y="33"/>
                        <a:pt x="4" y="32"/>
                        <a:pt x="6" y="32"/>
                      </a:cubicBezTo>
                      <a:close/>
                      <a:moveTo>
                        <a:pt x="8" y="39"/>
                      </a:move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20" y="39"/>
                        <a:pt x="20" y="39"/>
                        <a:pt x="20" y="39"/>
                      </a:cubicBezTo>
                      <a:cubicBezTo>
                        <a:pt x="22" y="39"/>
                        <a:pt x="23" y="40"/>
                        <a:pt x="23" y="41"/>
                      </a:cubicBezTo>
                      <a:cubicBezTo>
                        <a:pt x="23" y="42"/>
                        <a:pt x="22" y="43"/>
                        <a:pt x="20" y="43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8" y="43"/>
                        <a:pt x="8" y="43"/>
                        <a:pt x="8" y="43"/>
                      </a:cubicBezTo>
                      <a:cubicBezTo>
                        <a:pt x="6" y="43"/>
                        <a:pt x="5" y="42"/>
                        <a:pt x="5" y="41"/>
                      </a:cubicBezTo>
                      <a:cubicBezTo>
                        <a:pt x="5" y="40"/>
                        <a:pt x="6" y="39"/>
                        <a:pt x="8" y="39"/>
                      </a:cubicBezTo>
                      <a:close/>
                      <a:moveTo>
                        <a:pt x="11" y="45"/>
                      </a:move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23" y="45"/>
                        <a:pt x="23" y="45"/>
                        <a:pt x="23" y="45"/>
                      </a:cubicBezTo>
                      <a:cubicBezTo>
                        <a:pt x="25" y="45"/>
                        <a:pt x="26" y="47"/>
                        <a:pt x="26" y="48"/>
                      </a:cubicBezTo>
                      <a:cubicBezTo>
                        <a:pt x="26" y="49"/>
                        <a:pt x="25" y="50"/>
                        <a:pt x="23" y="50"/>
                      </a:cubicBezTo>
                      <a:cubicBezTo>
                        <a:pt x="11" y="50"/>
                        <a:pt x="11" y="50"/>
                        <a:pt x="11" y="50"/>
                      </a:cubicBezTo>
                      <a:cubicBezTo>
                        <a:pt x="9" y="50"/>
                        <a:pt x="8" y="49"/>
                        <a:pt x="8" y="48"/>
                      </a:cubicBezTo>
                      <a:cubicBezTo>
                        <a:pt x="8" y="47"/>
                        <a:pt x="9" y="45"/>
                        <a:pt x="11" y="45"/>
                      </a:cubicBezTo>
                      <a:close/>
                      <a:moveTo>
                        <a:pt x="23" y="52"/>
                      </a:moveTo>
                      <a:cubicBezTo>
                        <a:pt x="26" y="52"/>
                        <a:pt x="28" y="50"/>
                        <a:pt x="28" y="48"/>
                      </a:cubicBezTo>
                      <a:cubicBezTo>
                        <a:pt x="28" y="46"/>
                        <a:pt x="26" y="44"/>
                        <a:pt x="24" y="44"/>
                      </a:cubicBezTo>
                      <a:cubicBezTo>
                        <a:pt x="25" y="43"/>
                        <a:pt x="25" y="42"/>
                        <a:pt x="25" y="41"/>
                      </a:cubicBezTo>
                      <a:cubicBezTo>
                        <a:pt x="25" y="39"/>
                        <a:pt x="24" y="38"/>
                        <a:pt x="22" y="37"/>
                      </a:cubicBezTo>
                      <a:cubicBezTo>
                        <a:pt x="22" y="36"/>
                        <a:pt x="23" y="35"/>
                        <a:pt x="23" y="34"/>
                      </a:cubicBezTo>
                      <a:cubicBezTo>
                        <a:pt x="23" y="33"/>
                        <a:pt x="22" y="33"/>
                        <a:pt x="21" y="32"/>
                      </a:cubicBezTo>
                      <a:cubicBezTo>
                        <a:pt x="24" y="32"/>
                        <a:pt x="26" y="30"/>
                        <a:pt x="26" y="28"/>
                      </a:cubicBezTo>
                      <a:cubicBezTo>
                        <a:pt x="26" y="27"/>
                        <a:pt x="26" y="26"/>
                        <a:pt x="26" y="26"/>
                      </a:cubicBezTo>
                      <a:cubicBezTo>
                        <a:pt x="27" y="25"/>
                        <a:pt x="27" y="25"/>
                        <a:pt x="27" y="25"/>
                      </a:cubicBezTo>
                      <a:cubicBezTo>
                        <a:pt x="28" y="27"/>
                        <a:pt x="28" y="29"/>
                        <a:pt x="28" y="31"/>
                      </a:cubicBezTo>
                      <a:cubicBezTo>
                        <a:pt x="29" y="38"/>
                        <a:pt x="37" y="41"/>
                        <a:pt x="37" y="41"/>
                      </a:cubicBezTo>
                      <a:cubicBezTo>
                        <a:pt x="38" y="41"/>
                        <a:pt x="38" y="41"/>
                        <a:pt x="39" y="40"/>
                      </a:cubicBezTo>
                      <a:cubicBezTo>
                        <a:pt x="39" y="40"/>
                        <a:pt x="38" y="39"/>
                        <a:pt x="38" y="39"/>
                      </a:cubicBezTo>
                      <a:cubicBezTo>
                        <a:pt x="38" y="39"/>
                        <a:pt x="31" y="37"/>
                        <a:pt x="30" y="31"/>
                      </a:cubicBezTo>
                      <a:cubicBezTo>
                        <a:pt x="30" y="28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3"/>
                      </a:cubicBezTo>
                      <a:cubicBezTo>
                        <a:pt x="29" y="23"/>
                        <a:pt x="21" y="16"/>
                        <a:pt x="22" y="8"/>
                      </a:cubicBezTo>
                      <a:cubicBezTo>
                        <a:pt x="23" y="5"/>
                        <a:pt x="24" y="4"/>
                        <a:pt x="25" y="3"/>
                      </a:cubicBezTo>
                      <a:cubicBezTo>
                        <a:pt x="26" y="3"/>
                        <a:pt x="27" y="3"/>
                        <a:pt x="28" y="4"/>
                      </a:cubicBezTo>
                      <a:cubicBezTo>
                        <a:pt x="28" y="4"/>
                        <a:pt x="29" y="5"/>
                        <a:pt x="29" y="7"/>
                      </a:cubicBezTo>
                      <a:cubicBezTo>
                        <a:pt x="30" y="9"/>
                        <a:pt x="31" y="11"/>
                        <a:pt x="32" y="14"/>
                      </a:cubicBezTo>
                      <a:cubicBezTo>
                        <a:pt x="35" y="17"/>
                        <a:pt x="38" y="18"/>
                        <a:pt x="40" y="19"/>
                      </a:cubicBezTo>
                      <a:cubicBezTo>
                        <a:pt x="41" y="19"/>
                        <a:pt x="42" y="20"/>
                        <a:pt x="43" y="20"/>
                      </a:cubicBezTo>
                      <a:cubicBezTo>
                        <a:pt x="44" y="21"/>
                        <a:pt x="47" y="25"/>
                        <a:pt x="48" y="26"/>
                      </a:cubicBezTo>
                      <a:cubicBezTo>
                        <a:pt x="46" y="50"/>
                        <a:pt x="46" y="50"/>
                        <a:pt x="46" y="50"/>
                      </a:cubicBezTo>
                      <a:cubicBezTo>
                        <a:pt x="43" y="52"/>
                        <a:pt x="39" y="54"/>
                        <a:pt x="34" y="54"/>
                      </a:cubicBezTo>
                      <a:cubicBezTo>
                        <a:pt x="27" y="55"/>
                        <a:pt x="14" y="54"/>
                        <a:pt x="12" y="52"/>
                      </a:cubicBezTo>
                      <a:cubicBezTo>
                        <a:pt x="12" y="52"/>
                        <a:pt x="12" y="52"/>
                        <a:pt x="12" y="52"/>
                      </a:cubicBezTo>
                      <a:lnTo>
                        <a:pt x="23" y="52"/>
                      </a:lnTo>
                      <a:close/>
                      <a:moveTo>
                        <a:pt x="50" y="26"/>
                      </a:moveTo>
                      <a:cubicBezTo>
                        <a:pt x="61" y="27"/>
                        <a:pt x="61" y="27"/>
                        <a:pt x="61" y="27"/>
                      </a:cubicBezTo>
                      <a:cubicBezTo>
                        <a:pt x="59" y="54"/>
                        <a:pt x="59" y="54"/>
                        <a:pt x="59" y="54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lnTo>
                        <a:pt x="50" y="2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4" name="Freeform 64">
                  <a:extLst>
                    <a:ext uri="{FF2B5EF4-FFF2-40B4-BE49-F238E27FC236}">
                      <a16:creationId xmlns:a16="http://schemas.microsoft.com/office/drawing/2014/main" id="{A4A0FC43-C021-41EA-81B2-3AB925D8C11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014315" y="3728737"/>
                  <a:ext cx="236963" cy="159712"/>
                </a:xfrm>
                <a:custGeom>
                  <a:avLst/>
                  <a:gdLst>
                    <a:gd name="T0" fmla="*/ 58 w 58"/>
                    <a:gd name="T1" fmla="*/ 18 h 38"/>
                    <a:gd name="T2" fmla="*/ 31 w 58"/>
                    <a:gd name="T3" fmla="*/ 0 h 38"/>
                    <a:gd name="T4" fmla="*/ 1 w 58"/>
                    <a:gd name="T5" fmla="*/ 18 h 38"/>
                    <a:gd name="T6" fmla="*/ 0 w 58"/>
                    <a:gd name="T7" fmla="*/ 20 h 38"/>
                    <a:gd name="T8" fmla="*/ 31 w 58"/>
                    <a:gd name="T9" fmla="*/ 38 h 38"/>
                    <a:gd name="T10" fmla="*/ 58 w 58"/>
                    <a:gd name="T11" fmla="*/ 20 h 38"/>
                    <a:gd name="T12" fmla="*/ 58 w 58"/>
                    <a:gd name="T13" fmla="*/ 18 h 38"/>
                    <a:gd name="T14" fmla="*/ 18 w 58"/>
                    <a:gd name="T15" fmla="*/ 19 h 38"/>
                    <a:gd name="T16" fmla="*/ 16 w 58"/>
                    <a:gd name="T17" fmla="*/ 19 h 38"/>
                    <a:gd name="T18" fmla="*/ 28 w 58"/>
                    <a:gd name="T19" fmla="*/ 34 h 38"/>
                    <a:gd name="T20" fmla="*/ 4 w 58"/>
                    <a:gd name="T21" fmla="*/ 19 h 38"/>
                    <a:gd name="T22" fmla="*/ 27 w 58"/>
                    <a:gd name="T23" fmla="*/ 4 h 38"/>
                    <a:gd name="T24" fmla="*/ 19 w 58"/>
                    <a:gd name="T25" fmla="*/ 9 h 38"/>
                    <a:gd name="T26" fmla="*/ 21 w 58"/>
                    <a:gd name="T27" fmla="*/ 10 h 38"/>
                    <a:gd name="T28" fmla="*/ 31 w 58"/>
                    <a:gd name="T29" fmla="*/ 5 h 38"/>
                    <a:gd name="T30" fmla="*/ 45 w 58"/>
                    <a:gd name="T31" fmla="*/ 19 h 38"/>
                    <a:gd name="T32" fmla="*/ 31 w 58"/>
                    <a:gd name="T33" fmla="*/ 33 h 38"/>
                    <a:gd name="T34" fmla="*/ 18 w 58"/>
                    <a:gd name="T35" fmla="*/ 19 h 38"/>
                    <a:gd name="T36" fmla="*/ 36 w 58"/>
                    <a:gd name="T37" fmla="*/ 34 h 38"/>
                    <a:gd name="T38" fmla="*/ 47 w 58"/>
                    <a:gd name="T39" fmla="*/ 19 h 38"/>
                    <a:gd name="T40" fmla="*/ 38 w 58"/>
                    <a:gd name="T41" fmla="*/ 4 h 38"/>
                    <a:gd name="T42" fmla="*/ 55 w 58"/>
                    <a:gd name="T43" fmla="*/ 19 h 38"/>
                    <a:gd name="T44" fmla="*/ 36 w 58"/>
                    <a:gd name="T45" fmla="*/ 34 h 38"/>
                    <a:gd name="T46" fmla="*/ 40 w 58"/>
                    <a:gd name="T47" fmla="*/ 19 h 38"/>
                    <a:gd name="T48" fmla="*/ 31 w 58"/>
                    <a:gd name="T49" fmla="*/ 28 h 38"/>
                    <a:gd name="T50" fmla="*/ 23 w 58"/>
                    <a:gd name="T51" fmla="*/ 19 h 38"/>
                    <a:gd name="T52" fmla="*/ 31 w 58"/>
                    <a:gd name="T53" fmla="*/ 19 h 38"/>
                    <a:gd name="T54" fmla="*/ 24 w 58"/>
                    <a:gd name="T55" fmla="*/ 14 h 38"/>
                    <a:gd name="T56" fmla="*/ 31 w 58"/>
                    <a:gd name="T57" fmla="*/ 10 h 38"/>
                    <a:gd name="T58" fmla="*/ 40 w 58"/>
                    <a:gd name="T59" fmla="*/ 1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38">
                      <a:moveTo>
                        <a:pt x="58" y="18"/>
                      </a:moveTo>
                      <a:cubicBezTo>
                        <a:pt x="57" y="18"/>
                        <a:pt x="47" y="0"/>
                        <a:pt x="31" y="0"/>
                      </a:cubicBezTo>
                      <a:cubicBezTo>
                        <a:pt x="15" y="0"/>
                        <a:pt x="1" y="17"/>
                        <a:pt x="1" y="18"/>
                      </a:cubicBezTo>
                      <a:cubicBezTo>
                        <a:pt x="0" y="19"/>
                        <a:pt x="0" y="19"/>
                        <a:pt x="0" y="20"/>
                      </a:cubicBezTo>
                      <a:cubicBezTo>
                        <a:pt x="1" y="21"/>
                        <a:pt x="13" y="38"/>
                        <a:pt x="31" y="38"/>
                      </a:cubicBezTo>
                      <a:cubicBezTo>
                        <a:pt x="49" y="38"/>
                        <a:pt x="57" y="20"/>
                        <a:pt x="58" y="20"/>
                      </a:cubicBezTo>
                      <a:cubicBezTo>
                        <a:pt x="58" y="19"/>
                        <a:pt x="58" y="19"/>
                        <a:pt x="58" y="18"/>
                      </a:cubicBezTo>
                      <a:close/>
                      <a:moveTo>
                        <a:pt x="18" y="19"/>
                      </a:moveTo>
                      <a:cubicBezTo>
                        <a:pt x="16" y="19"/>
                        <a:pt x="16" y="19"/>
                        <a:pt x="16" y="19"/>
                      </a:cubicBezTo>
                      <a:cubicBezTo>
                        <a:pt x="16" y="27"/>
                        <a:pt x="21" y="33"/>
                        <a:pt x="28" y="34"/>
                      </a:cubicBezTo>
                      <a:cubicBezTo>
                        <a:pt x="16" y="33"/>
                        <a:pt x="6" y="22"/>
                        <a:pt x="4" y="19"/>
                      </a:cubicBezTo>
                      <a:cubicBezTo>
                        <a:pt x="6" y="16"/>
                        <a:pt x="16" y="6"/>
                        <a:pt x="27" y="4"/>
                      </a:cubicBezTo>
                      <a:cubicBezTo>
                        <a:pt x="24" y="5"/>
                        <a:pt x="21" y="7"/>
                        <a:pt x="19" y="9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23" y="7"/>
                        <a:pt x="27" y="5"/>
                        <a:pt x="31" y="5"/>
                      </a:cubicBezTo>
                      <a:cubicBezTo>
                        <a:pt x="39" y="5"/>
                        <a:pt x="45" y="11"/>
                        <a:pt x="45" y="19"/>
                      </a:cubicBezTo>
                      <a:cubicBezTo>
                        <a:pt x="45" y="27"/>
                        <a:pt x="39" y="33"/>
                        <a:pt x="31" y="33"/>
                      </a:cubicBezTo>
                      <a:cubicBezTo>
                        <a:pt x="24" y="33"/>
                        <a:pt x="18" y="27"/>
                        <a:pt x="18" y="19"/>
                      </a:cubicBezTo>
                      <a:close/>
                      <a:moveTo>
                        <a:pt x="36" y="34"/>
                      </a:moveTo>
                      <a:cubicBezTo>
                        <a:pt x="42" y="32"/>
                        <a:pt x="47" y="26"/>
                        <a:pt x="47" y="19"/>
                      </a:cubicBezTo>
                      <a:cubicBezTo>
                        <a:pt x="47" y="12"/>
                        <a:pt x="43" y="7"/>
                        <a:pt x="38" y="4"/>
                      </a:cubicBezTo>
                      <a:cubicBezTo>
                        <a:pt x="47" y="8"/>
                        <a:pt x="53" y="17"/>
                        <a:pt x="55" y="19"/>
                      </a:cubicBezTo>
                      <a:cubicBezTo>
                        <a:pt x="53" y="22"/>
                        <a:pt x="47" y="32"/>
                        <a:pt x="36" y="34"/>
                      </a:cubicBezTo>
                      <a:close/>
                      <a:moveTo>
                        <a:pt x="40" y="19"/>
                      </a:moveTo>
                      <a:cubicBezTo>
                        <a:pt x="40" y="24"/>
                        <a:pt x="36" y="28"/>
                        <a:pt x="31" y="28"/>
                      </a:cubicBezTo>
                      <a:cubicBezTo>
                        <a:pt x="27" y="28"/>
                        <a:pt x="23" y="24"/>
                        <a:pt x="23" y="19"/>
                      </a:cubicBez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6" y="12"/>
                        <a:pt x="29" y="10"/>
                        <a:pt x="31" y="10"/>
                      </a:cubicBezTo>
                      <a:cubicBezTo>
                        <a:pt x="36" y="10"/>
                        <a:pt x="40" y="14"/>
                        <a:pt x="40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</p:grpSp>
        </p:grpSp>
        <p:grpSp>
          <p:nvGrpSpPr>
            <p:cNvPr id="7" name="Group 88">
              <a:extLst>
                <a:ext uri="{FF2B5EF4-FFF2-40B4-BE49-F238E27FC236}">
                  <a16:creationId xmlns:a16="http://schemas.microsoft.com/office/drawing/2014/main" id="{FA7710F1-A923-4D4A-92D1-48F2FE8828D1}"/>
                </a:ext>
              </a:extLst>
            </p:cNvPr>
            <p:cNvGrpSpPr/>
            <p:nvPr/>
          </p:nvGrpSpPr>
          <p:grpSpPr>
            <a:xfrm>
              <a:off x="4348018" y="8032983"/>
              <a:ext cx="3308443" cy="5683017"/>
              <a:chOff x="3724275" y="1833563"/>
              <a:chExt cx="1316038" cy="2260600"/>
            </a:xfrm>
          </p:grpSpPr>
          <p:sp>
            <p:nvSpPr>
              <p:cNvPr id="8" name="Freeform 89">
                <a:extLst>
                  <a:ext uri="{FF2B5EF4-FFF2-40B4-BE49-F238E27FC236}">
                    <a16:creationId xmlns:a16="http://schemas.microsoft.com/office/drawing/2014/main" id="{013375F6-F4EE-498B-9514-5FE7740EC3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6400" y="2362201"/>
                <a:ext cx="330200" cy="381000"/>
              </a:xfrm>
              <a:custGeom>
                <a:avLst/>
                <a:gdLst>
                  <a:gd name="T0" fmla="*/ 208 w 208"/>
                  <a:gd name="T1" fmla="*/ 240 h 240"/>
                  <a:gd name="T2" fmla="*/ 0 w 208"/>
                  <a:gd name="T3" fmla="*/ 240 h 240"/>
                  <a:gd name="T4" fmla="*/ 8 w 208"/>
                  <a:gd name="T5" fmla="*/ 0 h 240"/>
                  <a:gd name="T6" fmla="*/ 199 w 208"/>
                  <a:gd name="T7" fmla="*/ 0 h 240"/>
                  <a:gd name="T8" fmla="*/ 208 w 208"/>
                  <a:gd name="T9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240">
                    <a:moveTo>
                      <a:pt x="208" y="240"/>
                    </a:moveTo>
                    <a:lnTo>
                      <a:pt x="0" y="240"/>
                    </a:lnTo>
                    <a:lnTo>
                      <a:pt x="8" y="0"/>
                    </a:lnTo>
                    <a:lnTo>
                      <a:pt x="199" y="0"/>
                    </a:lnTo>
                    <a:lnTo>
                      <a:pt x="208" y="240"/>
                    </a:lnTo>
                    <a:close/>
                  </a:path>
                </a:pathLst>
              </a:custGeom>
              <a:solidFill>
                <a:srgbClr val="F1C9A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9" name="Freeform 90">
                <a:extLst>
                  <a:ext uri="{FF2B5EF4-FFF2-40B4-BE49-F238E27FC236}">
                    <a16:creationId xmlns:a16="http://schemas.microsoft.com/office/drawing/2014/main" id="{2FBEBECA-5127-4564-9F01-89244D230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1625" y="1833563"/>
                <a:ext cx="538163" cy="676275"/>
              </a:xfrm>
              <a:custGeom>
                <a:avLst/>
                <a:gdLst>
                  <a:gd name="T0" fmla="*/ 179 w 179"/>
                  <a:gd name="T1" fmla="*/ 109 h 226"/>
                  <a:gd name="T2" fmla="*/ 90 w 179"/>
                  <a:gd name="T3" fmla="*/ 0 h 226"/>
                  <a:gd name="T4" fmla="*/ 0 w 179"/>
                  <a:gd name="T5" fmla="*/ 109 h 226"/>
                  <a:gd name="T6" fmla="*/ 42 w 179"/>
                  <a:gd name="T7" fmla="*/ 194 h 226"/>
                  <a:gd name="T8" fmla="*/ 49 w 179"/>
                  <a:gd name="T9" fmla="*/ 218 h 226"/>
                  <a:gd name="T10" fmla="*/ 59 w 179"/>
                  <a:gd name="T11" fmla="*/ 226 h 226"/>
                  <a:gd name="T12" fmla="*/ 121 w 179"/>
                  <a:gd name="T13" fmla="*/ 226 h 226"/>
                  <a:gd name="T14" fmla="*/ 131 w 179"/>
                  <a:gd name="T15" fmla="*/ 218 h 226"/>
                  <a:gd name="T16" fmla="*/ 138 w 179"/>
                  <a:gd name="T17" fmla="*/ 194 h 226"/>
                  <a:gd name="T18" fmla="*/ 179 w 179"/>
                  <a:gd name="T19" fmla="*/ 109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9" h="226">
                    <a:moveTo>
                      <a:pt x="179" y="109"/>
                    </a:moveTo>
                    <a:cubicBezTo>
                      <a:pt x="179" y="54"/>
                      <a:pt x="171" y="0"/>
                      <a:pt x="90" y="0"/>
                    </a:cubicBezTo>
                    <a:cubicBezTo>
                      <a:pt x="7" y="0"/>
                      <a:pt x="0" y="54"/>
                      <a:pt x="0" y="109"/>
                    </a:cubicBezTo>
                    <a:cubicBezTo>
                      <a:pt x="0" y="145"/>
                      <a:pt x="17" y="176"/>
                      <a:pt x="42" y="194"/>
                    </a:cubicBezTo>
                    <a:cubicBezTo>
                      <a:pt x="49" y="218"/>
                      <a:pt x="49" y="218"/>
                      <a:pt x="49" y="218"/>
                    </a:cubicBezTo>
                    <a:cubicBezTo>
                      <a:pt x="50" y="223"/>
                      <a:pt x="55" y="226"/>
                      <a:pt x="59" y="226"/>
                    </a:cubicBezTo>
                    <a:cubicBezTo>
                      <a:pt x="121" y="226"/>
                      <a:pt x="121" y="226"/>
                      <a:pt x="121" y="226"/>
                    </a:cubicBezTo>
                    <a:cubicBezTo>
                      <a:pt x="125" y="226"/>
                      <a:pt x="130" y="223"/>
                      <a:pt x="131" y="218"/>
                    </a:cubicBezTo>
                    <a:cubicBezTo>
                      <a:pt x="138" y="194"/>
                      <a:pt x="138" y="194"/>
                      <a:pt x="138" y="194"/>
                    </a:cubicBezTo>
                    <a:cubicBezTo>
                      <a:pt x="163" y="176"/>
                      <a:pt x="179" y="145"/>
                      <a:pt x="179" y="109"/>
                    </a:cubicBezTo>
                    <a:close/>
                  </a:path>
                </a:pathLst>
              </a:custGeom>
              <a:solidFill>
                <a:srgbClr val="634E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0" name="Freeform 91">
                <a:extLst>
                  <a:ext uri="{FF2B5EF4-FFF2-40B4-BE49-F238E27FC236}">
                    <a16:creationId xmlns:a16="http://schemas.microsoft.com/office/drawing/2014/main" id="{FAC90DF3-FD92-4F01-A340-E491ADA12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4275" y="2557463"/>
                <a:ext cx="1316038" cy="1536700"/>
              </a:xfrm>
              <a:custGeom>
                <a:avLst/>
                <a:gdLst>
                  <a:gd name="T0" fmla="*/ 405 w 438"/>
                  <a:gd name="T1" fmla="*/ 60 h 514"/>
                  <a:gd name="T2" fmla="*/ 287 w 438"/>
                  <a:gd name="T3" fmla="*/ 28 h 514"/>
                  <a:gd name="T4" fmla="*/ 282 w 438"/>
                  <a:gd name="T5" fmla="*/ 8 h 514"/>
                  <a:gd name="T6" fmla="*/ 219 w 438"/>
                  <a:gd name="T7" fmla="*/ 0 h 514"/>
                  <a:gd name="T8" fmla="*/ 156 w 438"/>
                  <a:gd name="T9" fmla="*/ 8 h 514"/>
                  <a:gd name="T10" fmla="*/ 152 w 438"/>
                  <a:gd name="T11" fmla="*/ 28 h 514"/>
                  <a:gd name="T12" fmla="*/ 33 w 438"/>
                  <a:gd name="T13" fmla="*/ 60 h 514"/>
                  <a:gd name="T14" fmla="*/ 0 w 438"/>
                  <a:gd name="T15" fmla="*/ 93 h 514"/>
                  <a:gd name="T16" fmla="*/ 7 w 438"/>
                  <a:gd name="T17" fmla="*/ 258 h 514"/>
                  <a:gd name="T18" fmla="*/ 65 w 438"/>
                  <a:gd name="T19" fmla="*/ 344 h 514"/>
                  <a:gd name="T20" fmla="*/ 35 w 438"/>
                  <a:gd name="T21" fmla="*/ 514 h 514"/>
                  <a:gd name="T22" fmla="*/ 402 w 438"/>
                  <a:gd name="T23" fmla="*/ 514 h 514"/>
                  <a:gd name="T24" fmla="*/ 371 w 438"/>
                  <a:gd name="T25" fmla="*/ 344 h 514"/>
                  <a:gd name="T26" fmla="*/ 431 w 438"/>
                  <a:gd name="T27" fmla="*/ 258 h 514"/>
                  <a:gd name="T28" fmla="*/ 438 w 438"/>
                  <a:gd name="T29" fmla="*/ 93 h 514"/>
                  <a:gd name="T30" fmla="*/ 405 w 438"/>
                  <a:gd name="T31" fmla="*/ 60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38" h="514">
                    <a:moveTo>
                      <a:pt x="405" y="60"/>
                    </a:moveTo>
                    <a:cubicBezTo>
                      <a:pt x="287" y="28"/>
                      <a:pt x="287" y="28"/>
                      <a:pt x="287" y="28"/>
                    </a:cubicBezTo>
                    <a:cubicBezTo>
                      <a:pt x="282" y="8"/>
                      <a:pt x="282" y="8"/>
                      <a:pt x="282" y="8"/>
                    </a:cubicBezTo>
                    <a:cubicBezTo>
                      <a:pt x="282" y="8"/>
                      <a:pt x="235" y="0"/>
                      <a:pt x="219" y="0"/>
                    </a:cubicBezTo>
                    <a:cubicBezTo>
                      <a:pt x="203" y="0"/>
                      <a:pt x="156" y="8"/>
                      <a:pt x="156" y="8"/>
                    </a:cubicBezTo>
                    <a:cubicBezTo>
                      <a:pt x="152" y="28"/>
                      <a:pt x="152" y="28"/>
                      <a:pt x="152" y="28"/>
                    </a:cubicBezTo>
                    <a:cubicBezTo>
                      <a:pt x="33" y="60"/>
                      <a:pt x="33" y="60"/>
                      <a:pt x="33" y="60"/>
                    </a:cubicBezTo>
                    <a:cubicBezTo>
                      <a:pt x="15" y="66"/>
                      <a:pt x="0" y="75"/>
                      <a:pt x="0" y="93"/>
                    </a:cubicBezTo>
                    <a:cubicBezTo>
                      <a:pt x="0" y="93"/>
                      <a:pt x="3" y="213"/>
                      <a:pt x="7" y="258"/>
                    </a:cubicBezTo>
                    <a:cubicBezTo>
                      <a:pt x="9" y="285"/>
                      <a:pt x="15" y="341"/>
                      <a:pt x="65" y="344"/>
                    </a:cubicBezTo>
                    <a:cubicBezTo>
                      <a:pt x="35" y="514"/>
                      <a:pt x="35" y="514"/>
                      <a:pt x="35" y="514"/>
                    </a:cubicBezTo>
                    <a:cubicBezTo>
                      <a:pt x="402" y="514"/>
                      <a:pt x="402" y="514"/>
                      <a:pt x="402" y="514"/>
                    </a:cubicBezTo>
                    <a:cubicBezTo>
                      <a:pt x="371" y="344"/>
                      <a:pt x="371" y="344"/>
                      <a:pt x="371" y="344"/>
                    </a:cubicBezTo>
                    <a:cubicBezTo>
                      <a:pt x="424" y="344"/>
                      <a:pt x="428" y="285"/>
                      <a:pt x="431" y="258"/>
                    </a:cubicBezTo>
                    <a:cubicBezTo>
                      <a:pt x="436" y="213"/>
                      <a:pt x="438" y="93"/>
                      <a:pt x="438" y="93"/>
                    </a:cubicBezTo>
                    <a:cubicBezTo>
                      <a:pt x="438" y="75"/>
                      <a:pt x="425" y="67"/>
                      <a:pt x="405" y="6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486537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2400" b="0" dirty="0"/>
              <a:t>Element Lev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Autos </a:t>
            </a:r>
            <a:r>
              <a:rPr lang="de-DE" dirty="0"/>
              <a:t>= Bewegende Agenten</a:t>
            </a:r>
            <a:endParaRPr lang="de-DE" dirty="0">
              <a:solidFill>
                <a:schemeClr val="accent6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stellen </a:t>
            </a:r>
            <a:r>
              <a:rPr lang="de-DE" dirty="0"/>
              <a:t>=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de-DE" dirty="0"/>
              <a:t>Feste Agen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bewegen sich zu zufälligen Zeitpunkten zur nächstgelegenen Tankstelle</a:t>
            </a:r>
            <a:endParaRPr lang="en-GB" dirty="0"/>
          </a:p>
          <a:p>
            <a:pPr algn="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55293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2400" b="0" dirty="0" err="1"/>
              <a:t>Component</a:t>
            </a:r>
            <a:r>
              <a:rPr lang="de-DE" sz="2400" b="0" dirty="0"/>
              <a:t> Lev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habe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fül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en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Schwellwert</a:t>
            </a:r>
            <a:r>
              <a:rPr lang="de-DE" dirty="0"/>
              <a:t> erreicht, 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fahren Autos zur nächsten Tankstelle und 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füllen Tankstand au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ankstellen habe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Preise</a:t>
            </a:r>
            <a:endParaRPr lang="en-GB" dirty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49579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2400" b="0" dirty="0" err="1"/>
              <a:t>Full</a:t>
            </a:r>
            <a:r>
              <a:rPr lang="de-DE" sz="2400" b="0" dirty="0"/>
              <a:t> </a:t>
            </a:r>
            <a:r>
              <a:rPr lang="de-DE" sz="2400" b="0" dirty="0" err="1"/>
              <a:t>structure</a:t>
            </a:r>
            <a:endParaRPr lang="de-DE" sz="2400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ankstellen richten ihre Preise regelmäßig nach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Marktführer</a:t>
            </a:r>
            <a:r>
              <a:rPr lang="de-DE" dirty="0">
                <a:solidFill>
                  <a:schemeClr val="accent1"/>
                </a:solidFill>
              </a:rPr>
              <a:t>,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Billigtankstellen </a:t>
            </a:r>
            <a:r>
              <a:rPr lang="de-DE" dirty="0">
                <a:solidFill>
                  <a:schemeClr val="accent1"/>
                </a:solidFill>
              </a:rPr>
              <a:t>und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Ölpre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habe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Präferenzen</a:t>
            </a:r>
            <a:r>
              <a:rPr lang="de-DE" dirty="0"/>
              <a:t> für Tankst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ankstellen berechne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Nachfrage </a:t>
            </a:r>
            <a:r>
              <a:rPr lang="de-DE" dirty="0"/>
              <a:t>auf täglicher Ba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fahren auf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Straßensystem</a:t>
            </a:r>
            <a:endParaRPr lang="en-GB" dirty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61278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ihandform 19"/>
          <p:cNvSpPr/>
          <p:nvPr/>
        </p:nvSpPr>
        <p:spPr bwMode="gray">
          <a:xfrm>
            <a:off x="4643438" y="987574"/>
            <a:ext cx="4249043" cy="1536307"/>
          </a:xfrm>
          <a:custGeom>
            <a:avLst/>
            <a:gdLst>
              <a:gd name="connsiteX0" fmla="*/ 0 w 4249043"/>
              <a:gd name="connsiteY0" fmla="*/ 0 h 1536307"/>
              <a:gd name="connsiteX1" fmla="*/ 4249043 w 4249043"/>
              <a:gd name="connsiteY1" fmla="*/ 0 h 1536307"/>
              <a:gd name="connsiteX2" fmla="*/ 4249043 w 4249043"/>
              <a:gd name="connsiteY2" fmla="*/ 1376807 h 1536307"/>
              <a:gd name="connsiteX3" fmla="*/ 196384 w 4249043"/>
              <a:gd name="connsiteY3" fmla="*/ 1376807 h 1536307"/>
              <a:gd name="connsiteX4" fmla="*/ 0 w 4249043"/>
              <a:gd name="connsiteY4" fmla="*/ 1536307 h 1536307"/>
              <a:gd name="connsiteX5" fmla="*/ 0 w 4249043"/>
              <a:gd name="connsiteY5" fmla="*/ 1376807 h 1536307"/>
              <a:gd name="connsiteX6" fmla="*/ 0 w 4249043"/>
              <a:gd name="connsiteY6" fmla="*/ 1374149 h 1536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49043" h="1536307">
                <a:moveTo>
                  <a:pt x="0" y="0"/>
                </a:moveTo>
                <a:lnTo>
                  <a:pt x="4249043" y="0"/>
                </a:lnTo>
                <a:lnTo>
                  <a:pt x="4249043" y="1376807"/>
                </a:lnTo>
                <a:lnTo>
                  <a:pt x="196384" y="1376807"/>
                </a:lnTo>
                <a:lnTo>
                  <a:pt x="0" y="1536307"/>
                </a:lnTo>
                <a:lnTo>
                  <a:pt x="0" y="1376807"/>
                </a:lnTo>
                <a:lnTo>
                  <a:pt x="0" y="137414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de-DE" sz="3200" b="1" dirty="0">
                <a:solidFill>
                  <a:schemeClr val="bg1"/>
                </a:solidFill>
              </a:rPr>
              <a:t>Noch Fragen?</a:t>
            </a:r>
          </a:p>
        </p:txBody>
      </p:sp>
    </p:spTree>
    <p:extLst>
      <p:ext uri="{BB962C8B-B14F-4D97-AF65-F5344CB8AC3E}">
        <p14:creationId xmlns:p14="http://schemas.microsoft.com/office/powerpoint/2010/main" val="3556152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67820"/>
          </a:xfrm>
        </p:spPr>
        <p:txBody>
          <a:bodyPr/>
          <a:lstStyle/>
          <a:p>
            <a:r>
              <a:rPr lang="de-DE" sz="3200" b="0" dirty="0"/>
              <a:t>Annahm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1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00987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dirty="0"/>
              <a:t>Auto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4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 anchor="ctr"/>
          <a:lstStyle/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kapazität</a:t>
            </a:r>
            <a:r>
              <a:rPr lang="de-DE" dirty="0"/>
              <a:t> von 100 Einheiten</a:t>
            </a:r>
          </a:p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Verbrauch</a:t>
            </a:r>
            <a:r>
              <a:rPr lang="de-DE" dirty="0"/>
              <a:t> von 1-2 Einheiten pro Tick ( Stunde )</a:t>
            </a:r>
          </a:p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Markenpräferenz</a:t>
            </a:r>
            <a:r>
              <a:rPr lang="de-DE" dirty="0"/>
              <a:t> zufällig</a:t>
            </a:r>
          </a:p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Schwellwert</a:t>
            </a:r>
            <a:r>
              <a:rPr lang="de-DE" dirty="0"/>
              <a:t> um tanken zu fahren von 35 Einheiten </a:t>
            </a:r>
            <a:r>
              <a:rPr lang="de-DE" dirty="0" err="1"/>
              <a:t>Resttank</a:t>
            </a:r>
            <a:endParaRPr lang="de-DE" dirty="0"/>
          </a:p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füllung</a:t>
            </a:r>
            <a:r>
              <a:rPr lang="de-DE" dirty="0"/>
              <a:t> auf 0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Agent „stirbt“</a:t>
            </a:r>
          </a:p>
          <a:p>
            <a:r>
              <a:rPr lang="de-DE" dirty="0">
                <a:solidFill>
                  <a:srgbClr val="FF0000"/>
                </a:solidFill>
              </a:rPr>
              <a:t>Benzinpreis </a:t>
            </a:r>
            <a:r>
              <a:rPr lang="de-DE" dirty="0"/>
              <a:t>wird erst an Station eingesehen</a:t>
            </a:r>
          </a:p>
        </p:txBody>
      </p:sp>
    </p:spTree>
    <p:extLst>
      <p:ext uri="{BB962C8B-B14F-4D97-AF65-F5344CB8AC3E}">
        <p14:creationId xmlns:p14="http://schemas.microsoft.com/office/powerpoint/2010/main" val="37642397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b="0" dirty="0"/>
              <a:t>Tägliche Preisbild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5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 anchor="ctr"/>
          <a:lstStyle/>
          <a:p>
            <a:r>
              <a:rPr lang="de-DE" dirty="0">
                <a:solidFill>
                  <a:srgbClr val="0070C0"/>
                </a:solidFill>
              </a:rPr>
              <a:t>Ölpreis</a:t>
            </a:r>
            <a:r>
              <a:rPr lang="de-DE" dirty="0"/>
              <a:t> </a:t>
            </a:r>
            <a:r>
              <a:rPr lang="de-DE" dirty="0">
                <a:solidFill>
                  <a:srgbClr val="0070C0"/>
                </a:solidFill>
              </a:rPr>
              <a:t>1,35 €</a:t>
            </a:r>
            <a:r>
              <a:rPr lang="en-GB" dirty="0"/>
              <a:t>, </a:t>
            </a:r>
            <a:r>
              <a:rPr lang="en-GB" dirty="0" err="1"/>
              <a:t>ändert</a:t>
            </a:r>
            <a:r>
              <a:rPr lang="en-GB" dirty="0"/>
              <a:t> </a:t>
            </a:r>
            <a:r>
              <a:rPr lang="en-GB" dirty="0" err="1"/>
              <a:t>sich</a:t>
            </a:r>
            <a:r>
              <a:rPr lang="en-GB" dirty="0"/>
              <a:t> </a:t>
            </a:r>
            <a:r>
              <a:rPr lang="en-GB" dirty="0" err="1"/>
              <a:t>täglich</a:t>
            </a:r>
            <a:r>
              <a:rPr lang="en-GB" dirty="0"/>
              <a:t> um </a:t>
            </a:r>
            <a:r>
              <a:rPr lang="en-GB" dirty="0" err="1"/>
              <a:t>bis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10 cent</a:t>
            </a:r>
          </a:p>
          <a:p>
            <a:r>
              <a:rPr lang="en-GB" dirty="0" err="1">
                <a:solidFill>
                  <a:srgbClr val="0070C0"/>
                </a:solidFill>
              </a:rPr>
              <a:t>Ölpreis</a:t>
            </a:r>
            <a:r>
              <a:rPr lang="en-GB" dirty="0">
                <a:solidFill>
                  <a:srgbClr val="0070C0"/>
                </a:solidFill>
              </a:rPr>
              <a:t> </a:t>
            </a:r>
            <a:r>
              <a:rPr lang="en-GB" dirty="0" err="1"/>
              <a:t>darf</a:t>
            </a:r>
            <a:r>
              <a:rPr lang="en-GB" dirty="0"/>
              <a:t> </a:t>
            </a:r>
            <a:r>
              <a:rPr lang="en-GB" dirty="0" err="1"/>
              <a:t>sich</a:t>
            </a:r>
            <a:r>
              <a:rPr lang="en-GB" dirty="0"/>
              <a:t> </a:t>
            </a:r>
            <a:r>
              <a:rPr lang="en-GB" dirty="0" err="1"/>
              <a:t>nicht</a:t>
            </a:r>
            <a:r>
              <a:rPr lang="en-GB" dirty="0"/>
              <a:t> </a:t>
            </a:r>
            <a:r>
              <a:rPr lang="en-GB" dirty="0" err="1"/>
              <a:t>unter</a:t>
            </a:r>
            <a:r>
              <a:rPr lang="en-GB" dirty="0"/>
              <a:t> </a:t>
            </a:r>
            <a:r>
              <a:rPr lang="en-GB" dirty="0">
                <a:solidFill>
                  <a:srgbClr val="0070C0"/>
                </a:solidFill>
              </a:rPr>
              <a:t>1,00 €</a:t>
            </a:r>
            <a:r>
              <a:rPr lang="en-GB" dirty="0"/>
              <a:t>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über</a:t>
            </a:r>
            <a:r>
              <a:rPr lang="en-GB" dirty="0"/>
              <a:t> </a:t>
            </a:r>
            <a:r>
              <a:rPr lang="en-GB" dirty="0">
                <a:solidFill>
                  <a:srgbClr val="0070C0"/>
                </a:solidFill>
              </a:rPr>
              <a:t>1,60 €</a:t>
            </a:r>
            <a:r>
              <a:rPr lang="en-GB" dirty="0"/>
              <a:t> </a:t>
            </a:r>
            <a:r>
              <a:rPr lang="en-GB" dirty="0" err="1"/>
              <a:t>entwickeln</a:t>
            </a:r>
            <a:endParaRPr lang="en-GB" dirty="0"/>
          </a:p>
          <a:p>
            <a:r>
              <a:rPr lang="de-DE" b="1" dirty="0"/>
              <a:t>Marktführertankstellen</a:t>
            </a:r>
            <a:r>
              <a:rPr lang="de-DE" dirty="0"/>
              <a:t> Preis = </a:t>
            </a:r>
            <a:r>
              <a:rPr lang="de-DE" dirty="0">
                <a:solidFill>
                  <a:srgbClr val="0070C0"/>
                </a:solidFill>
              </a:rPr>
              <a:t>Ölpreis</a:t>
            </a:r>
            <a:r>
              <a:rPr lang="de-DE" dirty="0"/>
              <a:t> +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0,04 € bis 0,10 € Aufschlag</a:t>
            </a:r>
          </a:p>
          <a:p>
            <a:r>
              <a:rPr lang="de-DE" b="1" dirty="0"/>
              <a:t>Nachfolgertankstellen</a:t>
            </a:r>
            <a:r>
              <a:rPr lang="de-DE" dirty="0"/>
              <a:t> bis zu 0,02 € günstiger als Marktführer</a:t>
            </a:r>
          </a:p>
        </p:txBody>
      </p:sp>
    </p:spTree>
    <p:extLst>
      <p:ext uri="{BB962C8B-B14F-4D97-AF65-F5344CB8AC3E}">
        <p14:creationId xmlns:p14="http://schemas.microsoft.com/office/powerpoint/2010/main" val="20621642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b="0" dirty="0"/>
              <a:t>Stündliche Preisbild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6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712968" cy="3779837"/>
          </a:xfrm>
        </p:spPr>
        <p:txBody>
          <a:bodyPr anchor="ctr"/>
          <a:lstStyle/>
          <a:p>
            <a:r>
              <a:rPr lang="de-DE" dirty="0"/>
              <a:t>Preisbildung: Wie ist die Nachfrage im Vergleich zu anderen Tankstellen?</a:t>
            </a:r>
          </a:p>
          <a:p>
            <a:r>
              <a:rPr lang="de-DE" dirty="0">
                <a:solidFill>
                  <a:schemeClr val="accent3"/>
                </a:solidFill>
              </a:rPr>
              <a:t>Hohe Nachfrage </a:t>
            </a:r>
            <a:r>
              <a:rPr lang="de-DE" dirty="0"/>
              <a:t>Preis um bis zu 0,02€ erhöhen</a:t>
            </a:r>
          </a:p>
          <a:p>
            <a:r>
              <a:rPr lang="de-DE" dirty="0">
                <a:solidFill>
                  <a:schemeClr val="accent6"/>
                </a:solidFill>
              </a:rPr>
              <a:t>Unterdurchschnittliche Nachfrage </a:t>
            </a:r>
            <a:r>
              <a:rPr lang="de-DE" dirty="0"/>
              <a:t>Preis setzen: bis zu 0,02€ günstiger als günstigste Tankstelle</a:t>
            </a:r>
          </a:p>
          <a:p>
            <a:pPr algn="ctr"/>
            <a:endParaRPr lang="de-DE" b="1" dirty="0"/>
          </a:p>
          <a:p>
            <a:pPr algn="ctr"/>
            <a:r>
              <a:rPr lang="de-DE" b="1" dirty="0"/>
              <a:t>Preis kann dabei nicht unter den Ölpreis falle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62708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b="0" dirty="0"/>
              <a:t>Entscheidungsfind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7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 anchor="ctr"/>
          <a:lstStyle/>
          <a:p>
            <a:r>
              <a:rPr lang="de-DE" dirty="0"/>
              <a:t>Nächstgelegene Tankstelle wird angefahren</a:t>
            </a:r>
          </a:p>
          <a:p>
            <a:r>
              <a:rPr lang="de-DE" dirty="0"/>
              <a:t>Wenn Preis mehr als 0,05€ teurer als letzter bekannter Preis </a:t>
            </a:r>
          </a:p>
          <a:p>
            <a:pPr lvl="1" indent="0">
              <a:buNone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	</a:t>
            </a:r>
            <a:r>
              <a:rPr lang="de-DE" dirty="0">
                <a:solidFill>
                  <a:schemeClr val="accent1"/>
                </a:solidFill>
                <a:sym typeface="Wingdings" pitchFamily="2" charset="2"/>
              </a:rPr>
              <a:t>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50% tanken </a:t>
            </a:r>
            <a:r>
              <a:rPr lang="de-DE" dirty="0">
                <a:solidFill>
                  <a:schemeClr val="accent1"/>
                </a:solidFill>
              </a:rPr>
              <a:t>und zur nächsten Tankstelle</a:t>
            </a:r>
          </a:p>
          <a:p>
            <a:r>
              <a:rPr lang="de-DE" dirty="0"/>
              <a:t>Autos haben Präferenzen für Tankstellenmarke </a:t>
            </a:r>
          </a:p>
          <a:p>
            <a:pPr lvl="1" indent="0">
              <a:buNone/>
            </a:pPr>
            <a:r>
              <a:rPr lang="de-DE" dirty="0"/>
              <a:t>	</a:t>
            </a:r>
            <a:r>
              <a:rPr lang="de-DE" dirty="0">
                <a:solidFill>
                  <a:schemeClr val="accent1"/>
                </a:solidFill>
                <a:sym typeface="Wingdings" pitchFamily="2" charset="2"/>
              </a:rPr>
              <a:t>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wahrscheinlichkeit </a:t>
            </a:r>
            <a:r>
              <a:rPr lang="de-DE" dirty="0">
                <a:solidFill>
                  <a:schemeClr val="accent1"/>
                </a:solidFill>
              </a:rPr>
              <a:t>ergibt sich aus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Distanz zu Tankstellen </a:t>
            </a:r>
            <a:r>
              <a:rPr lang="de-DE" dirty="0">
                <a:solidFill>
                  <a:schemeClr val="accent1"/>
                </a:solidFill>
              </a:rPr>
              <a:t>&amp;&amp;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Präferenz</a:t>
            </a:r>
          </a:p>
        </p:txBody>
      </p:sp>
    </p:spTree>
    <p:extLst>
      <p:ext uri="{BB962C8B-B14F-4D97-AF65-F5344CB8AC3E}">
        <p14:creationId xmlns:p14="http://schemas.microsoft.com/office/powerpoint/2010/main" val="32765248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67820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de-DE" sz="3200" b="0" dirty="0"/>
              <a:t>Konzeptionelles Model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2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50356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AB6F52A-01F4-4726-89F6-09961CF72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>
                <a:solidFill>
                  <a:schemeClr val="bg1"/>
                </a:solidFill>
              </a:rPr>
              <a:pPr/>
              <a:t>9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047C33-EB70-41E0-A14F-08A6DB053A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8764"/>
          <a:stretch/>
        </p:blipFill>
        <p:spPr>
          <a:xfrm>
            <a:off x="1403649" y="195039"/>
            <a:ext cx="2376264" cy="475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86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Vista Master 16:9 DE">
  <a:themeElements>
    <a:clrScheme name="StandardFabien">
      <a:dk1>
        <a:sysClr val="windowText" lastClr="000000"/>
      </a:dk1>
      <a:lt1>
        <a:sysClr val="window" lastClr="FFFFFF"/>
      </a:lt1>
      <a:dk2>
        <a:srgbClr val="878787"/>
      </a:dk2>
      <a:lt2>
        <a:srgbClr val="DADADA"/>
      </a:lt2>
      <a:accent1>
        <a:srgbClr val="003366"/>
      </a:accent1>
      <a:accent2>
        <a:srgbClr val="B2B2B2"/>
      </a:accent2>
      <a:accent3>
        <a:srgbClr val="99CC00"/>
      </a:accent3>
      <a:accent4>
        <a:srgbClr val="009FE3"/>
      </a:accent4>
      <a:accent5>
        <a:srgbClr val="BBD151"/>
      </a:accent5>
      <a:accent6>
        <a:srgbClr val="FF5722"/>
      </a:accent6>
      <a:hlink>
        <a:srgbClr val="0563C1"/>
      </a:hlink>
      <a:folHlink>
        <a:srgbClr val="D80C1B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0" rIns="36000" bIns="0" rtlCol="0">
        <a:spAutoFit/>
      </a:bodyPr>
      <a:lstStyle>
        <a:defPPr marL="180000" indent="-180000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nVista_Master_Power_Point" id="{1D1374C7-B624-42FD-A5EB-54C6CCDC30D4}" vid="{1F44B31E-9AA2-4FF7-A5AB-6FE0CB6BEF0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775c7f27-c4ba-428c-bd4f-2c95b2f35b72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 Template</TermName>
          <TermId xmlns="http://schemas.microsoft.com/office/infopath/2007/PartnerControls">5500eac8-f0e9-499b-b973-d35f35cb2d58</TermId>
        </TermInfo>
        <TermInfo xmlns="http://schemas.microsoft.com/office/infopath/2007/PartnerControls">
          <TermName xmlns="http://schemas.microsoft.com/office/infopath/2007/PartnerControls">PowerPoint Master</TermName>
          <TermId xmlns="http://schemas.microsoft.com/office/infopath/2007/PartnerControls">b4c0c807-f135-4f43-9de0-ced70d590de7</TermId>
        </TermInfo>
      </Terms>
    </TaxKeywordTaxHTField>
    <la7c5525e834444ba2f841cbdd9a721c xmlns="0a512487-7314-4690-a23d-379b8f4986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 Template</TermName>
          <TermId xmlns="http://schemas.microsoft.com/office/infopath/2007/PartnerControls">ce4b87e0-0632-44d3-b752-92fe5a472785</TermId>
        </TermInfo>
      </Terms>
    </la7c5525e834444ba2f841cbdd9a721c>
    <c75452b872374240802c5cc75395443d xmlns="0a512487-7314-4690-a23d-379b8f4986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German</TermName>
          <TermId xmlns="http://schemas.microsoft.com/office/infopath/2007/PartnerControls">dd50302b-9a05-4e56-83f9-94d12cdac619</TermId>
        </TermInfo>
      </Terms>
    </c75452b872374240802c5cc75395443d>
    <ica45a1093544bd2abca52a0e1536664 xmlns="775c7f27-c4ba-428c-bd4f-2c95b2f35b72">
      <Terms xmlns="http://schemas.microsoft.com/office/infopath/2007/PartnerControls">
        <TermInfo xmlns="http://schemas.microsoft.com/office/infopath/2007/PartnerControls">
          <TermName xmlns="http://schemas.microsoft.com/office/infopath/2007/PartnerControls">Final</TermName>
          <TermId xmlns="http://schemas.microsoft.com/office/infopath/2007/PartnerControls">9f0519c0-ea95-4823-bed3-ceba54c16f06</TermId>
        </TermInfo>
      </Terms>
    </ica45a1093544bd2abca52a0e1536664>
    <Publication_x0020_Date xmlns="0a512487-7314-4690-a23d-379b8f4986f9">2017-03-22T23:00:00+00:00</Publication_x0020_Date>
    <TaxCatchAll xmlns="775c7f27-c4ba-428c-bd4f-2c95b2f35b72">
      <Value>10</Value>
      <Value>77</Value>
      <Value>483</Value>
      <Value>39</Value>
      <Value>418</Value>
      <Value>53</Value>
    </TaxCatchAl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Marketing Template" ma:contentTypeID="0x01010044F8F3F98EC5ED4396637321436FBBF100B76A032EFCABE64A982EF93D5A803AD5" ma:contentTypeVersion="5" ma:contentTypeDescription="Templates offered by marketing" ma:contentTypeScope="" ma:versionID="d4e7b89fdd23e0265af1be5b2af05d47">
  <xsd:schema xmlns:xsd="http://www.w3.org/2001/XMLSchema" xmlns:xs="http://www.w3.org/2001/XMLSchema" xmlns:p="http://schemas.microsoft.com/office/2006/metadata/properties" xmlns:ns2="0a512487-7314-4690-a23d-379b8f4986f9" xmlns:ns3="775c7f27-c4ba-428c-bd4f-2c95b2f35b72" xmlns:ns4="84902ab5-05b1-4849-845a-fceeb51199c1" targetNamespace="http://schemas.microsoft.com/office/2006/metadata/properties" ma:root="true" ma:fieldsID="08cd3f3260d053193857ad525583035e" ns2:_="" ns3:_="" ns4:_="">
    <xsd:import namespace="0a512487-7314-4690-a23d-379b8f4986f9"/>
    <xsd:import namespace="775c7f27-c4ba-428c-bd4f-2c95b2f35b72"/>
    <xsd:import namespace="84902ab5-05b1-4849-845a-fceeb51199c1"/>
    <xsd:element name="properties">
      <xsd:complexType>
        <xsd:sequence>
          <xsd:element name="documentManagement">
            <xsd:complexType>
              <xsd:all>
                <xsd:element ref="ns2:la7c5525e834444ba2f841cbdd9a721c" minOccurs="0"/>
                <xsd:element ref="ns3:TaxCatchAll" minOccurs="0"/>
                <xsd:element ref="ns3:TaxCatchAllLabel" minOccurs="0"/>
                <xsd:element ref="ns3:TaxKeywordTaxHTField" minOccurs="0"/>
                <xsd:element ref="ns2:Publication_x0020_Date" minOccurs="0"/>
                <xsd:element ref="ns2:c75452b872374240802c5cc75395443d" minOccurs="0"/>
                <xsd:element ref="ns3:ica45a1093544bd2abca52a0e1536664" minOccurs="0"/>
                <xsd:element ref="ns4:_dlc_DocId" minOccurs="0"/>
                <xsd:element ref="ns4:_dlc_DocIdUrl" minOccurs="0"/>
                <xsd:element ref="ns4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12487-7314-4690-a23d-379b8f4986f9" elementFormDefault="qualified">
    <xsd:import namespace="http://schemas.microsoft.com/office/2006/documentManagement/types"/>
    <xsd:import namespace="http://schemas.microsoft.com/office/infopath/2007/PartnerControls"/>
    <xsd:element name="la7c5525e834444ba2f841cbdd9a721c" ma:index="3" nillable="true" ma:taxonomy="true" ma:internalName="la7c5525e834444ba2f841cbdd9a721c" ma:taxonomyFieldName="Marketing_x0020_Template_x0020_Type" ma:displayName="Marketing Template Type" ma:default="" ma:fieldId="{5a7c5525-e834-444b-a2f8-41cbdd9a721c}" ma:taxonomyMulti="true" ma:sspId="e901e093-9b62-460c-8d9a-2140dece9a3d" ma:termSetId="c09e0296-6a2c-4175-b9e6-3795258e5a7f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Publication_x0020_Date" ma:index="8" nillable="true" ma:displayName="Publication Date" ma:default="[today]" ma:format="DateOnly" ma:internalName="Publication_x0020_Date">
      <xsd:simpleType>
        <xsd:restriction base="dms:DateTime"/>
      </xsd:simpleType>
    </xsd:element>
    <xsd:element name="c75452b872374240802c5cc75395443d" ma:index="10" nillable="true" ma:taxonomy="true" ma:internalName="c75452b872374240802c5cc75395443d" ma:taxonomyFieldName="Content_x0020_Language" ma:displayName="Content Language" ma:default="3;#English|4c276967-edc9-43a2-9f4a-ad190ebb9098" ma:fieldId="{c75452b8-7237-4240-802c-5cc75395443d}" ma:taxonomyMulti="true" ma:sspId="e901e093-9b62-460c-8d9a-2140dece9a3d" ma:termSetId="5fe8898b-db4b-4675-b4f6-872c1a31b343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5c7f27-c4ba-428c-bd4f-2c95b2f35b72" elementFormDefault="qualified">
    <xsd:import namespace="http://schemas.microsoft.com/office/2006/documentManagement/types"/>
    <xsd:import namespace="http://schemas.microsoft.com/office/infopath/2007/PartnerControls"/>
    <xsd:element name="TaxCatchAll" ma:index="4" nillable="true" ma:displayName="Taxonomy Catch All Column" ma:hidden="true" ma:list="{6e5ac14c-7fa5-4b9c-bc01-825c11e48be5}" ma:internalName="TaxCatchAll" ma:showField="CatchAllData" ma:web="0a512487-7314-4690-a23d-379b8f4986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5" nillable="true" ma:displayName="Taxonomy Catch All Column1" ma:hidden="true" ma:list="{6e5ac14c-7fa5-4b9c-bc01-825c11e48be5}" ma:internalName="TaxCatchAllLabel" ma:readOnly="true" ma:showField="CatchAllDataLabel" ma:web="0a512487-7314-4690-a23d-379b8f4986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7" nillable="true" ma:taxonomy="true" ma:internalName="TaxKeywordTaxHTField" ma:taxonomyFieldName="TaxKeyword" ma:displayName="Enterprise Keywords" ma:fieldId="{23f27201-bee3-471e-b2e7-b64fd8b7ca38}" ma:taxonomyMulti="true" ma:sspId="e901e093-9b62-460c-8d9a-2140dece9a3d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ica45a1093544bd2abca52a0e1536664" ma:index="12" ma:taxonomy="true" ma:internalName="ica45a1093544bd2abca52a0e1536664" ma:taxonomyFieldName="Project_x0020_Document_x0020_Status" ma:displayName="Document Status" ma:default="" ma:fieldId="{2ca45a10-9354-4bd2-abca-52a0e1536664}" ma:sspId="e901e093-9b62-460c-8d9a-2140dece9a3d" ma:termSetId="a7d014a2-4e41-46e9-b13b-fedcbe86b403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902ab5-05b1-4849-845a-fceeb51199c1" elementFormDefault="qualified">
    <xsd:import namespace="http://schemas.microsoft.com/office/2006/documentManagement/types"/>
    <xsd:import namespace="http://schemas.microsoft.com/office/infopath/2007/PartnerControls"/>
    <xsd:element name="_dlc_DocId" ma:index="14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6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1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DB5F684-BA08-40C7-93E1-6BAF0AAD2538}">
  <ds:schemaRefs>
    <ds:schemaRef ds:uri="http://purl.org/dc/terms/"/>
    <ds:schemaRef ds:uri="0a512487-7314-4690-a23d-379b8f4986f9"/>
    <ds:schemaRef ds:uri="775c7f27-c4ba-428c-bd4f-2c95b2f35b72"/>
    <ds:schemaRef ds:uri="http://schemas.microsoft.com/office/2006/documentManagement/types"/>
    <ds:schemaRef ds:uri="84902ab5-05b1-4849-845a-fceeb51199c1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4488F69-8E3D-427C-95DC-4832BB6E22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512487-7314-4690-a23d-379b8f4986f9"/>
    <ds:schemaRef ds:uri="775c7f27-c4ba-428c-bd4f-2c95b2f35b72"/>
    <ds:schemaRef ds:uri="84902ab5-05b1-4849-845a-fceeb51199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D2E7238-7E0C-4C79-B55F-BAF121BCF50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826D1058-474A-49F0-A9C2-4F66A74A182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</TotalTime>
  <Words>389</Words>
  <Application>Microsoft Office PowerPoint</Application>
  <PresentationFormat>On-screen Show (16:9)</PresentationFormat>
  <Paragraphs>129</Paragraphs>
  <Slides>23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7" baseType="lpstr">
      <vt:lpstr>Arial</vt:lpstr>
      <vt:lpstr>Wingdings</vt:lpstr>
      <vt:lpstr>ConVista Master 16:9 DE</vt:lpstr>
      <vt:lpstr>think-cell Folie</vt:lpstr>
      <vt:lpstr>PowerPoint Presentation</vt:lpstr>
      <vt:lpstr>PowerPoint Presentation</vt:lpstr>
      <vt:lpstr>PowerPoint Presentation</vt:lpstr>
      <vt:lpstr>Autos</vt:lpstr>
      <vt:lpstr>Tägliche Preisbildung</vt:lpstr>
      <vt:lpstr>Stündliche Preisbildung</vt:lpstr>
      <vt:lpstr>Entscheidungsfindu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chwankung im Rohölpreis</vt:lpstr>
      <vt:lpstr>Stündliche Schwankung der Benzinpreise</vt:lpstr>
      <vt:lpstr>Verhältnis Autofahrer / Tankstelle</vt:lpstr>
      <vt:lpstr>Generierte Nachfrage pro Zeitschritt</vt:lpstr>
      <vt:lpstr>Verhältnis Autofahrer / Tankstelle</vt:lpstr>
      <vt:lpstr>PowerPoint Presentation</vt:lpstr>
      <vt:lpstr>Coupon Level</vt:lpstr>
      <vt:lpstr>Element Level</vt:lpstr>
      <vt:lpstr>Component Level</vt:lpstr>
      <vt:lpstr>Full structure</vt:lpstr>
      <vt:lpstr>PowerPoint Presentation</vt:lpstr>
    </vt:vector>
  </TitlesOfParts>
  <Company>Fabien Oldengot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 Master</dc:subject>
  <dc:creator>Fabien Oldengott</dc:creator>
  <cp:keywords>PowerPoint Master; PowerPoint Template</cp:keywords>
  <dc:description>Fabien Oldengott</dc:description>
  <cp:lastModifiedBy>Meise, Christoph</cp:lastModifiedBy>
  <cp:revision>241</cp:revision>
  <dcterms:created xsi:type="dcterms:W3CDTF">2017-11-29T22:17:05Z</dcterms:created>
  <dcterms:modified xsi:type="dcterms:W3CDTF">2018-07-03T21:20:22Z</dcterms:modified>
  <cp:category>PowerPoint Mast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F8F3F98EC5ED4396637321436FBBF100B76A032EFCABE64A982EF93D5A803AD5</vt:lpwstr>
  </property>
  <property fmtid="{D5CDD505-2E9C-101B-9397-08002B2CF9AE}" pid="3" name="c3857e80ecad4746bd19334669f58b21">
    <vt:lpwstr>regular|1e6e065b-57e1-4767-99f8-4cd7c0fd96cc</vt:lpwstr>
  </property>
  <property fmtid="{D5CDD505-2E9C-101B-9397-08002B2CF9AE}" pid="4" name="Content Language">
    <vt:lpwstr>39;#German|dd50302b-9a05-4e56-83f9-94d12cdac619</vt:lpwstr>
  </property>
  <property fmtid="{D5CDD505-2E9C-101B-9397-08002B2CF9AE}" pid="5" name="TaxKeyword">
    <vt:lpwstr>418;#PowerPoint Template|5500eac8-f0e9-499b-b973-d35f35cb2d58;#483;#PowerPoint Master|b4c0c807-f135-4f43-9de0-ced70d590de7</vt:lpwstr>
  </property>
  <property fmtid="{D5CDD505-2E9C-101B-9397-08002B2CF9AE}" pid="6" name="Confidentiality">
    <vt:lpwstr>10;#regular|1e6e065b-57e1-4767-99f8-4cd7c0fd96cc</vt:lpwstr>
  </property>
  <property fmtid="{D5CDD505-2E9C-101B-9397-08002B2CF9AE}" pid="7" name="Project Document Status">
    <vt:lpwstr>77;#Final|9f0519c0-ea95-4823-bed3-ceba54c16f06</vt:lpwstr>
  </property>
  <property fmtid="{D5CDD505-2E9C-101B-9397-08002B2CF9AE}" pid="8" name="Marketing Template Type">
    <vt:lpwstr>53;#PowerPoint Template|ce4b87e0-0632-44d3-b752-92fe5a472785</vt:lpwstr>
  </property>
  <property fmtid="{D5CDD505-2E9C-101B-9397-08002B2CF9AE}" pid="9" name="IsMyDocuments">
    <vt:bool>true</vt:bool>
  </property>
</Properties>
</file>